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15001868" r:id="rId2"/>
    <p:sldId id="15001869" r:id="rId3"/>
    <p:sldId id="15002009" r:id="rId4"/>
    <p:sldId id="15001892" r:id="rId5"/>
    <p:sldId id="15002008" r:id="rId6"/>
    <p:sldId id="15002010" r:id="rId7"/>
    <p:sldId id="15001884" r:id="rId8"/>
    <p:sldId id="15001873" r:id="rId9"/>
    <p:sldId id="15001875" r:id="rId10"/>
    <p:sldId id="15002011" r:id="rId11"/>
    <p:sldId id="15002012" r:id="rId12"/>
    <p:sldId id="15001881" r:id="rId13"/>
    <p:sldId id="15001909" r:id="rId14"/>
    <p:sldId id="15001910" r:id="rId15"/>
    <p:sldId id="15002013" r:id="rId16"/>
    <p:sldId id="15001902" r:id="rId17"/>
    <p:sldId id="15002017" r:id="rId18"/>
    <p:sldId id="15002018" r:id="rId19"/>
    <p:sldId id="289" r:id="rId20"/>
    <p:sldId id="15001890" r:id="rId21"/>
    <p:sldId id="15001894" r:id="rId22"/>
    <p:sldId id="15001904" r:id="rId23"/>
    <p:sldId id="15002014" r:id="rId24"/>
    <p:sldId id="15002016" r:id="rId25"/>
    <p:sldId id="15002020" r:id="rId26"/>
    <p:sldId id="15002021" r:id="rId27"/>
    <p:sldId id="15002022" r:id="rId28"/>
    <p:sldId id="15002023" r:id="rId29"/>
    <p:sldId id="15002024" r:id="rId30"/>
    <p:sldId id="15002025" r:id="rId31"/>
    <p:sldId id="15002019" r:id="rId32"/>
    <p:sldId id="15002026" r:id="rId33"/>
    <p:sldId id="15002027" r:id="rId34"/>
    <p:sldId id="15002028" r:id="rId35"/>
    <p:sldId id="15002029" r:id="rId36"/>
    <p:sldId id="15002030" r:id="rId37"/>
    <p:sldId id="15002031" r:id="rId38"/>
    <p:sldId id="15002032" r:id="rId39"/>
    <p:sldId id="15002033" r:id="rId40"/>
    <p:sldId id="15002034" r:id="rId41"/>
    <p:sldId id="15002035" r:id="rId42"/>
    <p:sldId id="15002036" r:id="rId43"/>
    <p:sldId id="15002037" r:id="rId44"/>
    <p:sldId id="15002038" r:id="rId45"/>
    <p:sldId id="15002039" r:id="rId46"/>
    <p:sldId id="15002040" r:id="rId47"/>
    <p:sldId id="15002015" r:id="rId48"/>
    <p:sldId id="15001969" r:id="rId49"/>
    <p:sldId id="15001970" r:id="rId50"/>
    <p:sldId id="15001928" r:id="rId51"/>
    <p:sldId id="15001929" r:id="rId52"/>
  </p:sldIdLst>
  <p:sldSz cx="24382413" cy="13716000"/>
  <p:notesSz cx="6858000" cy="9144000"/>
  <p:custDataLst>
    <p:tags r:id="rId55"/>
  </p:custDataLst>
  <p:defaultTextStyle>
    <a:defPPr>
      <a:defRPr lang="ru-RU"/>
    </a:defPPr>
    <a:lvl1pPr marL="0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965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365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765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165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565" algn="l" defTabSz="1828800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alia Zhuravlova" initials="" lastIdx="10" clrIdx="0"/>
  <p:cmAuthor id="1" name="tat.gratcheva@live.com" initials="t" lastIdx="83" clrIdx="1"/>
  <p:cmAuthor id="2" name="Yuliya Gerasimova" initials="YG" lastIdx="50" clrIdx="2"/>
  <p:cmAuthor id="3" name="Anastasia An. Petrova" initials="AAP" lastIdx="10" clrIdx="3"/>
  <p:cmAuthor id="4" name="Maria Pirozhkova" initials="MP" lastIdx="1" clrIdx="4"/>
  <p:cmAuthor id="5" name="Maria Kushaeva" initials="MK" lastIdx="2" clrIdx="5"/>
  <p:cmAuthor id="6" name="Anzhelika Barbashina" initials="AB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E40"/>
    <a:srgbClr val="F7F7F7"/>
    <a:srgbClr val="F2F2F2"/>
    <a:srgbClr val="F3F1F5"/>
    <a:srgbClr val="ECECEC"/>
    <a:srgbClr val="BFBFBF"/>
    <a:srgbClr val="7F7F7F"/>
    <a:srgbClr val="C2C2C2"/>
    <a:srgbClr val="D9D9D9"/>
    <a:srgbClr val="EBEC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2"/>
    <p:restoredTop sz="84146"/>
  </p:normalViewPr>
  <p:slideViewPr>
    <p:cSldViewPr snapToGrid="0">
      <p:cViewPr varScale="1">
        <p:scale>
          <a:sx n="56" d="100"/>
          <a:sy n="56" d="100"/>
        </p:scale>
        <p:origin x="624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4968" y="16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C5C60-F37A-814E-99F6-3C775637DBC0}" type="datetimeFigureOut">
              <a:rPr lang="ru-RU" smtClean="0">
                <a:latin typeface="Arial" panose="02080604020202020204" pitchFamily="34" charset="0"/>
              </a:rPr>
              <a:t>01.06.2024</a:t>
            </a:fld>
            <a:endParaRPr lang="ru-RU">
              <a:latin typeface="Arial" panose="0208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Arial" panose="0208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BC657-1F7B-DB4E-9001-D45F13547058}" type="slidenum">
              <a:rPr lang="ru-RU" smtClean="0">
                <a:latin typeface="Arial" panose="02080604020202020204" pitchFamily="34" charset="0"/>
              </a:rPr>
              <a:t>‹#›</a:t>
            </a:fld>
            <a:endParaRPr lang="ru-RU">
              <a:latin typeface="Arial" panose="0208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8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80604020202020204" pitchFamily="34" charset="0"/>
              </a:defRPr>
            </a:lvl1pPr>
          </a:lstStyle>
          <a:p>
            <a:fld id="{A48BA324-014D-41B7-8E83-ECE8F197A959}" type="datetimeFigureOut">
              <a:rPr lang="ru-RU" smtClean="0"/>
              <a:t>01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8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80604020202020204" pitchFamily="34" charset="0"/>
              </a:defRPr>
            </a:lvl1pPr>
          </a:lstStyle>
          <a:p>
            <a:fld id="{281397F6-5F69-4798-869B-9B0266F8F8FE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8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8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8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8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8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14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207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4151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 bwMode="auto"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 bwMode="auto"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 bwMode="auto"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 bwMode="auto"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 bwMode="auto"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 bwMode="auto"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 bwMode="auto"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 bwMode="auto"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 bwMode="auto"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 bwMode="auto"/>
        <p:txBody>
          <a:bodyPr/>
          <a:lstStyle/>
          <a:p>
            <a:pPr>
              <a:defRPr/>
            </a:pPr>
            <a:endParaRPr lang="en-US" dirty="0">
              <a:sym typeface="+mn-ea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898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281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3509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1397F6-5F69-4798-869B-9B0266F8F8FE}" type="slidenum">
              <a:rPr lang="ru-RU" smtClean="0"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sz="12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RUS_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065780" y="1801891"/>
            <a:ext cx="3938436" cy="1119844"/>
            <a:chOff x="3065780" y="1863566"/>
            <a:chExt cx="3938441" cy="1119845"/>
          </a:xfrm>
        </p:grpSpPr>
        <p:sp>
          <p:nvSpPr>
            <p:cNvPr id="14" name="Rectangle 13"/>
            <p:cNvSpPr/>
            <p:nvPr userDrawn="1"/>
          </p:nvSpPr>
          <p:spPr>
            <a:xfrm>
              <a:off x="5895833" y="2013045"/>
              <a:ext cx="989463" cy="757451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>
                <a:ln w="0"/>
                <a:solidFill>
                  <a:schemeClr val="tx1"/>
                </a:solidFill>
              </a:endParaRPr>
            </a:p>
          </p:txBody>
        </p:sp>
        <p:grpSp>
          <p:nvGrpSpPr>
            <p:cNvPr id="16" name="Group 15"/>
            <p:cNvGrpSpPr>
              <a:grpSpLocks noChangeAspect="1"/>
            </p:cNvGrpSpPr>
            <p:nvPr userDrawn="1"/>
          </p:nvGrpSpPr>
          <p:grpSpPr>
            <a:xfrm>
              <a:off x="3065780" y="1863566"/>
              <a:ext cx="3938441" cy="1119845"/>
              <a:chOff x="1825536" y="4990509"/>
              <a:chExt cx="13098007" cy="3724251"/>
            </a:xfrm>
            <a:solidFill>
              <a:schemeClr val="tx1"/>
            </a:solidFill>
          </p:grpSpPr>
          <p:grpSp>
            <p:nvGrpSpPr>
              <p:cNvPr id="20" name="Group 19"/>
              <p:cNvGrpSpPr/>
              <p:nvPr userDrawn="1"/>
            </p:nvGrpSpPr>
            <p:grpSpPr>
              <a:xfrm>
                <a:off x="10885468" y="4990509"/>
                <a:ext cx="4038075" cy="3724251"/>
                <a:chOff x="10885468" y="4990509"/>
                <a:chExt cx="4038075" cy="3724251"/>
              </a:xfrm>
              <a:grpFill/>
            </p:grpSpPr>
            <p:sp>
              <p:nvSpPr>
                <p:cNvPr id="22" name="Freeform 21"/>
                <p:cNvSpPr/>
                <p:nvPr/>
              </p:nvSpPr>
              <p:spPr>
                <a:xfrm>
                  <a:off x="10885468" y="4990509"/>
                  <a:ext cx="4038075" cy="3724251"/>
                </a:xfrm>
                <a:custGeom>
                  <a:avLst/>
                  <a:gdLst>
                    <a:gd name="connsiteX0" fmla="*/ 3656399 w 4038075"/>
                    <a:gd name="connsiteY0" fmla="*/ 381102 h 3724251"/>
                    <a:gd name="connsiteX1" fmla="*/ 2735145 w 4038075"/>
                    <a:gd name="connsiteY1" fmla="*/ 0 h 3724251"/>
                    <a:gd name="connsiteX2" fmla="*/ 1287881 w 4038075"/>
                    <a:gd name="connsiteY2" fmla="*/ 0 h 3724251"/>
                    <a:gd name="connsiteX3" fmla="*/ 0 w 4038075"/>
                    <a:gd name="connsiteY3" fmla="*/ 1301319 h 3724251"/>
                    <a:gd name="connsiteX4" fmla="*/ 0 w 4038075"/>
                    <a:gd name="connsiteY4" fmla="*/ 2423179 h 3724251"/>
                    <a:gd name="connsiteX5" fmla="*/ 1302191 w 4038075"/>
                    <a:gd name="connsiteY5" fmla="*/ 3724252 h 3724251"/>
                    <a:gd name="connsiteX6" fmla="*/ 1302931 w 4038075"/>
                    <a:gd name="connsiteY6" fmla="*/ 3724251 h 3724251"/>
                    <a:gd name="connsiteX7" fmla="*/ 2735144 w 4038075"/>
                    <a:gd name="connsiteY7" fmla="*/ 3724251 h 3724251"/>
                    <a:gd name="connsiteX8" fmla="*/ 4038075 w 4038075"/>
                    <a:gd name="connsiteY8" fmla="*/ 2423919 h 3724251"/>
                    <a:gd name="connsiteX9" fmla="*/ 4038075 w 4038075"/>
                    <a:gd name="connsiteY9" fmla="*/ 2423179 h 3724251"/>
                    <a:gd name="connsiteX10" fmla="*/ 4038075 w 4038075"/>
                    <a:gd name="connsiteY10" fmla="*/ 1301319 h 3724251"/>
                    <a:gd name="connsiteX11" fmla="*/ 3656399 w 4038075"/>
                    <a:gd name="connsiteY11" fmla="*/ 381102 h 3724251"/>
                    <a:gd name="connsiteX12" fmla="*/ 2004358 w 4038075"/>
                    <a:gd name="connsiteY12" fmla="*/ 2095323 h 3724251"/>
                    <a:gd name="connsiteX13" fmla="*/ 1276285 w 4038075"/>
                    <a:gd name="connsiteY13" fmla="*/ 2928275 h 3724251"/>
                    <a:gd name="connsiteX14" fmla="*/ 499609 w 4038075"/>
                    <a:gd name="connsiteY14" fmla="*/ 1859907 h 3724251"/>
                    <a:gd name="connsiteX15" fmla="*/ 1382128 w 4038075"/>
                    <a:gd name="connsiteY15" fmla="*/ 788088 h 3724251"/>
                    <a:gd name="connsiteX16" fmla="*/ 1885932 w 4038075"/>
                    <a:gd name="connsiteY16" fmla="*/ 919477 h 3724251"/>
                    <a:gd name="connsiteX17" fmla="*/ 1885932 w 4038075"/>
                    <a:gd name="connsiteY17" fmla="*/ 1209617 h 3724251"/>
                    <a:gd name="connsiteX18" fmla="*/ 1399646 w 4038075"/>
                    <a:gd name="connsiteY18" fmla="*/ 1069601 h 3724251"/>
                    <a:gd name="connsiteX19" fmla="*/ 866236 w 4038075"/>
                    <a:gd name="connsiteY19" fmla="*/ 1860400 h 3724251"/>
                    <a:gd name="connsiteX20" fmla="*/ 1282947 w 4038075"/>
                    <a:gd name="connsiteY20" fmla="*/ 2647255 h 3724251"/>
                    <a:gd name="connsiteX21" fmla="*/ 1642419 w 4038075"/>
                    <a:gd name="connsiteY21" fmla="*/ 2104937 h 3724251"/>
                    <a:gd name="connsiteX22" fmla="*/ 1642419 w 4038075"/>
                    <a:gd name="connsiteY22" fmla="*/ 2042570 h 3724251"/>
                    <a:gd name="connsiteX23" fmla="*/ 1261236 w 4038075"/>
                    <a:gd name="connsiteY23" fmla="*/ 2042570 h 3724251"/>
                    <a:gd name="connsiteX24" fmla="*/ 1261236 w 4038075"/>
                    <a:gd name="connsiteY24" fmla="*/ 1761057 h 3724251"/>
                    <a:gd name="connsiteX25" fmla="*/ 2004358 w 4038075"/>
                    <a:gd name="connsiteY25" fmla="*/ 1761057 h 3724251"/>
                    <a:gd name="connsiteX26" fmla="*/ 2880216 w 4038075"/>
                    <a:gd name="connsiteY26" fmla="*/ 2929508 h 3724251"/>
                    <a:gd name="connsiteX27" fmla="*/ 2214070 w 4038075"/>
                    <a:gd name="connsiteY27" fmla="*/ 2148569 h 3724251"/>
                    <a:gd name="connsiteX28" fmla="*/ 2880216 w 4038075"/>
                    <a:gd name="connsiteY28" fmla="*/ 1364178 h 3724251"/>
                    <a:gd name="connsiteX29" fmla="*/ 3546362 w 4038075"/>
                    <a:gd name="connsiteY29" fmla="*/ 2144871 h 3724251"/>
                    <a:gd name="connsiteX30" fmla="*/ 2880216 w 4038075"/>
                    <a:gd name="connsiteY30" fmla="*/ 2930001 h 3724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038075" h="3724251">
                      <a:moveTo>
                        <a:pt x="3656399" y="381102"/>
                      </a:moveTo>
                      <a:cubicBezTo>
                        <a:pt x="3412051" y="137026"/>
                        <a:pt x="3080662" y="-62"/>
                        <a:pt x="2735145" y="0"/>
                      </a:cubicBezTo>
                      <a:lnTo>
                        <a:pt x="1287881" y="0"/>
                      </a:lnTo>
                      <a:cubicBezTo>
                        <a:pt x="568197" y="0"/>
                        <a:pt x="0" y="582500"/>
                        <a:pt x="0" y="1301319"/>
                      </a:cubicBezTo>
                      <a:lnTo>
                        <a:pt x="0" y="2423179"/>
                      </a:lnTo>
                      <a:cubicBezTo>
                        <a:pt x="0" y="3141741"/>
                        <a:pt x="583011" y="3724251"/>
                        <a:pt x="1302191" y="3724252"/>
                      </a:cubicBezTo>
                      <a:cubicBezTo>
                        <a:pt x="1302438" y="3724252"/>
                        <a:pt x="1302685" y="3724252"/>
                        <a:pt x="1302931" y="3724251"/>
                      </a:cubicBezTo>
                      <a:lnTo>
                        <a:pt x="2735144" y="3724251"/>
                      </a:lnTo>
                      <a:cubicBezTo>
                        <a:pt x="3454325" y="3724660"/>
                        <a:pt x="4037666" y="3142481"/>
                        <a:pt x="4038075" y="2423919"/>
                      </a:cubicBezTo>
                      <a:cubicBezTo>
                        <a:pt x="4038075" y="2423672"/>
                        <a:pt x="4038075" y="2423426"/>
                        <a:pt x="4038075" y="2423179"/>
                      </a:cubicBezTo>
                      <a:lnTo>
                        <a:pt x="4038075" y="1301319"/>
                      </a:lnTo>
                      <a:cubicBezTo>
                        <a:pt x="4038060" y="956138"/>
                        <a:pt x="3900762" y="625110"/>
                        <a:pt x="3656399" y="381102"/>
                      </a:cubicBezTo>
                      <a:close/>
                      <a:moveTo>
                        <a:pt x="2004358" y="2095323"/>
                      </a:moveTo>
                      <a:cubicBezTo>
                        <a:pt x="2004358" y="2622112"/>
                        <a:pt x="1752456" y="2928275"/>
                        <a:pt x="1276285" y="2928275"/>
                      </a:cubicBezTo>
                      <a:cubicBezTo>
                        <a:pt x="784818" y="2928275"/>
                        <a:pt x="499609" y="2541503"/>
                        <a:pt x="499609" y="1859907"/>
                      </a:cubicBezTo>
                      <a:cubicBezTo>
                        <a:pt x="499609" y="1194334"/>
                        <a:pt x="810970" y="788088"/>
                        <a:pt x="1382128" y="788088"/>
                      </a:cubicBezTo>
                      <a:cubicBezTo>
                        <a:pt x="1598009" y="788088"/>
                        <a:pt x="1784037" y="845278"/>
                        <a:pt x="1885932" y="919477"/>
                      </a:cubicBezTo>
                      <a:lnTo>
                        <a:pt x="1885932" y="1209617"/>
                      </a:lnTo>
                      <a:cubicBezTo>
                        <a:pt x="1739778" y="1119220"/>
                        <a:pt x="1571534" y="1070777"/>
                        <a:pt x="1399646" y="1069601"/>
                      </a:cubicBezTo>
                      <a:cubicBezTo>
                        <a:pt x="1024877" y="1069601"/>
                        <a:pt x="866236" y="1323751"/>
                        <a:pt x="866236" y="1860400"/>
                      </a:cubicBezTo>
                      <a:cubicBezTo>
                        <a:pt x="866236" y="2380780"/>
                        <a:pt x="997738" y="2647255"/>
                        <a:pt x="1282947" y="2647255"/>
                      </a:cubicBezTo>
                      <a:cubicBezTo>
                        <a:pt x="1555573" y="2647255"/>
                        <a:pt x="1642419" y="2437970"/>
                        <a:pt x="1642419" y="2104937"/>
                      </a:cubicBezTo>
                      <a:lnTo>
                        <a:pt x="1642419" y="2042570"/>
                      </a:lnTo>
                      <a:lnTo>
                        <a:pt x="1261236" y="2042570"/>
                      </a:lnTo>
                      <a:lnTo>
                        <a:pt x="1261236" y="1761057"/>
                      </a:lnTo>
                      <a:lnTo>
                        <a:pt x="2004358" y="1761057"/>
                      </a:lnTo>
                      <a:close/>
                      <a:moveTo>
                        <a:pt x="2880216" y="2929508"/>
                      </a:moveTo>
                      <a:cubicBezTo>
                        <a:pt x="2487683" y="2929508"/>
                        <a:pt x="2214070" y="2650706"/>
                        <a:pt x="2214070" y="2148569"/>
                      </a:cubicBezTo>
                      <a:cubicBezTo>
                        <a:pt x="2214070" y="1646431"/>
                        <a:pt x="2486943" y="1364178"/>
                        <a:pt x="2880216" y="1364178"/>
                      </a:cubicBezTo>
                      <a:cubicBezTo>
                        <a:pt x="3273489" y="1364178"/>
                        <a:pt x="3546362" y="1641747"/>
                        <a:pt x="3546362" y="2144871"/>
                      </a:cubicBezTo>
                      <a:cubicBezTo>
                        <a:pt x="3546362" y="2647995"/>
                        <a:pt x="3272502" y="2930001"/>
                        <a:pt x="2880216" y="2930001"/>
                      </a:cubicBezTo>
                      <a:close/>
                    </a:path>
                  </a:pathLst>
                </a:custGeom>
                <a:grpFill/>
                <a:ln w="24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/>
                <p:cNvSpPr/>
                <p:nvPr/>
              </p:nvSpPr>
              <p:spPr>
                <a:xfrm>
                  <a:off x="13469866" y="6636447"/>
                  <a:ext cx="592129" cy="1002796"/>
                </a:xfrm>
                <a:custGeom>
                  <a:avLst/>
                  <a:gdLst>
                    <a:gd name="connsiteX0" fmla="*/ 296065 w 592129"/>
                    <a:gd name="connsiteY0" fmla="*/ 0 h 1002796"/>
                    <a:gd name="connsiteX1" fmla="*/ 0 w 592129"/>
                    <a:gd name="connsiteY1" fmla="*/ 503124 h 1002796"/>
                    <a:gd name="connsiteX2" fmla="*/ 296065 w 592129"/>
                    <a:gd name="connsiteY2" fmla="*/ 1002797 h 1002796"/>
                    <a:gd name="connsiteX3" fmla="*/ 592129 w 592129"/>
                    <a:gd name="connsiteY3" fmla="*/ 499426 h 1002796"/>
                    <a:gd name="connsiteX4" fmla="*/ 296065 w 592129"/>
                    <a:gd name="connsiteY4" fmla="*/ 0 h 1002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2129" h="1002796">
                      <a:moveTo>
                        <a:pt x="296065" y="0"/>
                      </a:moveTo>
                      <a:cubicBezTo>
                        <a:pt x="98688" y="0"/>
                        <a:pt x="0" y="152342"/>
                        <a:pt x="0" y="503124"/>
                      </a:cubicBezTo>
                      <a:cubicBezTo>
                        <a:pt x="0" y="850208"/>
                        <a:pt x="98688" y="1002797"/>
                        <a:pt x="296065" y="1002797"/>
                      </a:cubicBezTo>
                      <a:cubicBezTo>
                        <a:pt x="493441" y="1002797"/>
                        <a:pt x="592129" y="848976"/>
                        <a:pt x="592129" y="499426"/>
                      </a:cubicBezTo>
                      <a:cubicBezTo>
                        <a:pt x="592129" y="149877"/>
                        <a:pt x="493194" y="0"/>
                        <a:pt x="296065" y="0"/>
                      </a:cubicBezTo>
                      <a:close/>
                    </a:path>
                  </a:pathLst>
                </a:custGeom>
                <a:grpFill/>
                <a:ln w="24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1" name="Freeform 20"/>
              <p:cNvSpPr/>
              <p:nvPr/>
            </p:nvSpPr>
            <p:spPr>
              <a:xfrm>
                <a:off x="1825536" y="5816007"/>
                <a:ext cx="8391927" cy="2423918"/>
              </a:xfrm>
              <a:custGeom>
                <a:avLst/>
                <a:gdLst>
                  <a:gd name="connsiteX0" fmla="*/ 1023545 w 8391928"/>
                  <a:gd name="connsiteY0" fmla="*/ 281513 h 2423918"/>
                  <a:gd name="connsiteX1" fmla="*/ 860489 w 8391928"/>
                  <a:gd name="connsiteY1" fmla="*/ 281513 h 2423918"/>
                  <a:gd name="connsiteX2" fmla="*/ 407886 w 8391928"/>
                  <a:gd name="connsiteY2" fmla="*/ 653248 h 2423918"/>
                  <a:gd name="connsiteX3" fmla="*/ 738197 w 8391928"/>
                  <a:gd name="connsiteY3" fmla="*/ 1170916 h 2423918"/>
                  <a:gd name="connsiteX4" fmla="*/ 920770 w 8391928"/>
                  <a:gd name="connsiteY4" fmla="*/ 1294170 h 2423918"/>
                  <a:gd name="connsiteX5" fmla="*/ 392816 w 8391928"/>
                  <a:gd name="connsiteY5" fmla="*/ 2081025 h 2423918"/>
                  <a:gd name="connsiteX6" fmla="*/ 0 w 8391928"/>
                  <a:gd name="connsiteY6" fmla="*/ 2081025 h 2423918"/>
                  <a:gd name="connsiteX7" fmla="*/ 473355 w 8391928"/>
                  <a:gd name="connsiteY7" fmla="*/ 1376997 h 2423918"/>
                  <a:gd name="connsiteX8" fmla="*/ 47187 w 8391928"/>
                  <a:gd name="connsiteY8" fmla="*/ 673215 h 2423918"/>
                  <a:gd name="connsiteX9" fmla="*/ 856536 w 8391928"/>
                  <a:gd name="connsiteY9" fmla="*/ 0 h 2423918"/>
                  <a:gd name="connsiteX10" fmla="*/ 1383502 w 8391928"/>
                  <a:gd name="connsiteY10" fmla="*/ 0 h 2423918"/>
                  <a:gd name="connsiteX11" fmla="*/ 1383502 w 8391928"/>
                  <a:gd name="connsiteY11" fmla="*/ 2081025 h 2423918"/>
                  <a:gd name="connsiteX12" fmla="*/ 1022309 w 8391928"/>
                  <a:gd name="connsiteY12" fmla="*/ 2081025 h 2423918"/>
                  <a:gd name="connsiteX13" fmla="*/ 1022309 w 8391928"/>
                  <a:gd name="connsiteY13" fmla="*/ 281513 h 2423918"/>
                  <a:gd name="connsiteX14" fmla="*/ 2876449 w 8391928"/>
                  <a:gd name="connsiteY14" fmla="*/ 575105 h 2423918"/>
                  <a:gd name="connsiteX15" fmla="*/ 2876449 w 8391928"/>
                  <a:gd name="connsiteY15" fmla="*/ 2081025 h 2423918"/>
                  <a:gd name="connsiteX16" fmla="*/ 2519950 w 8391928"/>
                  <a:gd name="connsiteY16" fmla="*/ 2081025 h 2423918"/>
                  <a:gd name="connsiteX17" fmla="*/ 2519950 w 8391928"/>
                  <a:gd name="connsiteY17" fmla="*/ 1452675 h 2423918"/>
                  <a:gd name="connsiteX18" fmla="*/ 2043136 w 8391928"/>
                  <a:gd name="connsiteY18" fmla="*/ 1452675 h 2423918"/>
                  <a:gd name="connsiteX19" fmla="*/ 2043136 w 8391928"/>
                  <a:gd name="connsiteY19" fmla="*/ 2081025 h 2423918"/>
                  <a:gd name="connsiteX20" fmla="*/ 1686637 w 8391928"/>
                  <a:gd name="connsiteY20" fmla="*/ 2081025 h 2423918"/>
                  <a:gd name="connsiteX21" fmla="*/ 1686637 w 8391928"/>
                  <a:gd name="connsiteY21" fmla="*/ 575105 h 2423918"/>
                  <a:gd name="connsiteX22" fmla="*/ 2043136 w 8391928"/>
                  <a:gd name="connsiteY22" fmla="*/ 575105 h 2423918"/>
                  <a:gd name="connsiteX23" fmla="*/ 2043136 w 8391928"/>
                  <a:gd name="connsiteY23" fmla="*/ 1171409 h 2423918"/>
                  <a:gd name="connsiteX24" fmla="*/ 2519950 w 8391928"/>
                  <a:gd name="connsiteY24" fmla="*/ 1171409 h 2423918"/>
                  <a:gd name="connsiteX25" fmla="*/ 2519950 w 8391928"/>
                  <a:gd name="connsiteY25" fmla="*/ 575105 h 2423918"/>
                  <a:gd name="connsiteX26" fmla="*/ 4487241 w 8391928"/>
                  <a:gd name="connsiteY26" fmla="*/ 2423919 h 2423918"/>
                  <a:gd name="connsiteX27" fmla="*/ 4157424 w 8391928"/>
                  <a:gd name="connsiteY27" fmla="*/ 2423919 h 2423918"/>
                  <a:gd name="connsiteX28" fmla="*/ 4157424 w 8391928"/>
                  <a:gd name="connsiteY28" fmla="*/ 2078807 h 2423918"/>
                  <a:gd name="connsiteX29" fmla="*/ 3356228 w 8391928"/>
                  <a:gd name="connsiteY29" fmla="*/ 2078807 h 2423918"/>
                  <a:gd name="connsiteX30" fmla="*/ 3356228 w 8391928"/>
                  <a:gd name="connsiteY30" fmla="*/ 2423919 h 2423918"/>
                  <a:gd name="connsiteX31" fmla="*/ 3025917 w 8391928"/>
                  <a:gd name="connsiteY31" fmla="*/ 2423919 h 2423918"/>
                  <a:gd name="connsiteX32" fmla="*/ 3025917 w 8391928"/>
                  <a:gd name="connsiteY32" fmla="*/ 1799019 h 2423918"/>
                  <a:gd name="connsiteX33" fmla="*/ 3137585 w 8391928"/>
                  <a:gd name="connsiteY33" fmla="*/ 1799019 h 2423918"/>
                  <a:gd name="connsiteX34" fmla="*/ 3288041 w 8391928"/>
                  <a:gd name="connsiteY34" fmla="*/ 703535 h 2423918"/>
                  <a:gd name="connsiteX35" fmla="*/ 3288041 w 8391928"/>
                  <a:gd name="connsiteY35" fmla="*/ 574611 h 2423918"/>
                  <a:gd name="connsiteX36" fmla="*/ 4328880 w 8391928"/>
                  <a:gd name="connsiteY36" fmla="*/ 574611 h 2423918"/>
                  <a:gd name="connsiteX37" fmla="*/ 4328880 w 8391928"/>
                  <a:gd name="connsiteY37" fmla="*/ 1799019 h 2423918"/>
                  <a:gd name="connsiteX38" fmla="*/ 4487735 w 8391928"/>
                  <a:gd name="connsiteY38" fmla="*/ 1799019 h 2423918"/>
                  <a:gd name="connsiteX39" fmla="*/ 3972380 w 8391928"/>
                  <a:gd name="connsiteY39" fmla="*/ 857110 h 2423918"/>
                  <a:gd name="connsiteX40" fmla="*/ 3594635 w 8391928"/>
                  <a:gd name="connsiteY40" fmla="*/ 857110 h 2423918"/>
                  <a:gd name="connsiteX41" fmla="*/ 3594635 w 8391928"/>
                  <a:gd name="connsiteY41" fmla="*/ 901728 h 2423918"/>
                  <a:gd name="connsiteX42" fmla="*/ 3467896 w 8391928"/>
                  <a:gd name="connsiteY42" fmla="*/ 1800252 h 2423918"/>
                  <a:gd name="connsiteX43" fmla="*/ 3972380 w 8391928"/>
                  <a:gd name="connsiteY43" fmla="*/ 1800252 h 2423918"/>
                  <a:gd name="connsiteX44" fmla="*/ 5288931 w 8391928"/>
                  <a:gd name="connsiteY44" fmla="*/ 2110113 h 2423918"/>
                  <a:gd name="connsiteX45" fmla="*/ 4574698 w 8391928"/>
                  <a:gd name="connsiteY45" fmla="*/ 1331639 h 2423918"/>
                  <a:gd name="connsiteX46" fmla="*/ 5217039 w 8391928"/>
                  <a:gd name="connsiteY46" fmla="*/ 544784 h 2423918"/>
                  <a:gd name="connsiteX47" fmla="*/ 5804533 w 8391928"/>
                  <a:gd name="connsiteY47" fmla="*/ 1266314 h 2423918"/>
                  <a:gd name="connsiteX48" fmla="*/ 5804533 w 8391928"/>
                  <a:gd name="connsiteY48" fmla="*/ 1454401 h 2423918"/>
                  <a:gd name="connsiteX49" fmla="*/ 4943797 w 8391928"/>
                  <a:gd name="connsiteY49" fmla="*/ 1454401 h 2423918"/>
                  <a:gd name="connsiteX50" fmla="*/ 5318825 w 8391928"/>
                  <a:gd name="connsiteY50" fmla="*/ 1828847 h 2423918"/>
                  <a:gd name="connsiteX51" fmla="*/ 5789462 w 8391928"/>
                  <a:gd name="connsiteY51" fmla="*/ 1687597 h 2423918"/>
                  <a:gd name="connsiteX52" fmla="*/ 5789462 w 8391928"/>
                  <a:gd name="connsiteY52" fmla="*/ 1978724 h 2423918"/>
                  <a:gd name="connsiteX53" fmla="*/ 5288931 w 8391928"/>
                  <a:gd name="connsiteY53" fmla="*/ 2109620 h 2423918"/>
                  <a:gd name="connsiteX54" fmla="*/ 4943056 w 8391928"/>
                  <a:gd name="connsiteY54" fmla="*/ 1191622 h 2423918"/>
                  <a:gd name="connsiteX55" fmla="*/ 5441117 w 8391928"/>
                  <a:gd name="connsiteY55" fmla="*/ 1191622 h 2423918"/>
                  <a:gd name="connsiteX56" fmla="*/ 5441117 w 8391928"/>
                  <a:gd name="connsiteY56" fmla="*/ 1162041 h 2423918"/>
                  <a:gd name="connsiteX57" fmla="*/ 5209874 w 8391928"/>
                  <a:gd name="connsiteY57" fmla="*/ 827529 h 2423918"/>
                  <a:gd name="connsiteX58" fmla="*/ 4943797 w 8391928"/>
                  <a:gd name="connsiteY58" fmla="*/ 1191129 h 2423918"/>
                  <a:gd name="connsiteX59" fmla="*/ 6400674 w 8391928"/>
                  <a:gd name="connsiteY59" fmla="*/ 1341746 h 2423918"/>
                  <a:gd name="connsiteX60" fmla="*/ 6400674 w 8391928"/>
                  <a:gd name="connsiteY60" fmla="*/ 2081272 h 2423918"/>
                  <a:gd name="connsiteX61" fmla="*/ 6044175 w 8391928"/>
                  <a:gd name="connsiteY61" fmla="*/ 2081272 h 2423918"/>
                  <a:gd name="connsiteX62" fmla="*/ 6044175 w 8391928"/>
                  <a:gd name="connsiteY62" fmla="*/ 575105 h 2423918"/>
                  <a:gd name="connsiteX63" fmla="*/ 6401909 w 8391928"/>
                  <a:gd name="connsiteY63" fmla="*/ 575105 h 2423918"/>
                  <a:gd name="connsiteX64" fmla="*/ 6401909 w 8391928"/>
                  <a:gd name="connsiteY64" fmla="*/ 1269273 h 2423918"/>
                  <a:gd name="connsiteX65" fmla="*/ 6906888 w 8391928"/>
                  <a:gd name="connsiteY65" fmla="*/ 575105 h 2423918"/>
                  <a:gd name="connsiteX66" fmla="*/ 7267339 w 8391928"/>
                  <a:gd name="connsiteY66" fmla="*/ 575105 h 2423918"/>
                  <a:gd name="connsiteX67" fmla="*/ 6762855 w 8391928"/>
                  <a:gd name="connsiteY67" fmla="*/ 1269273 h 2423918"/>
                  <a:gd name="connsiteX68" fmla="*/ 7335527 w 8391928"/>
                  <a:gd name="connsiteY68" fmla="*/ 2079793 h 2423918"/>
                  <a:gd name="connsiteX69" fmla="*/ 6929864 w 8391928"/>
                  <a:gd name="connsiteY69" fmla="*/ 2079793 h 2423918"/>
                  <a:gd name="connsiteX70" fmla="*/ 7314773 w 8391928"/>
                  <a:gd name="connsiteY70" fmla="*/ 1329174 h 2423918"/>
                  <a:gd name="connsiteX71" fmla="*/ 8008007 w 8391928"/>
                  <a:gd name="connsiteY71" fmla="*/ 544784 h 2423918"/>
                  <a:gd name="connsiteX72" fmla="*/ 8391929 w 8391928"/>
                  <a:gd name="connsiteY72" fmla="*/ 616764 h 2423918"/>
                  <a:gd name="connsiteX73" fmla="*/ 8391929 w 8391928"/>
                  <a:gd name="connsiteY73" fmla="*/ 918491 h 2423918"/>
                  <a:gd name="connsiteX74" fmla="*/ 8046053 w 8391928"/>
                  <a:gd name="connsiteY74" fmla="*/ 825557 h 2423918"/>
                  <a:gd name="connsiteX75" fmla="*/ 7683378 w 8391928"/>
                  <a:gd name="connsiteY75" fmla="*/ 1320053 h 2423918"/>
                  <a:gd name="connsiteX76" fmla="*/ 8043583 w 8391928"/>
                  <a:gd name="connsiteY76" fmla="*/ 1829586 h 2423918"/>
                  <a:gd name="connsiteX77" fmla="*/ 8391435 w 8391928"/>
                  <a:gd name="connsiteY77" fmla="*/ 1727778 h 2423918"/>
                  <a:gd name="connsiteX78" fmla="*/ 8391435 w 8391928"/>
                  <a:gd name="connsiteY78" fmla="*/ 2017919 h 2423918"/>
                  <a:gd name="connsiteX79" fmla="*/ 8022336 w 8391928"/>
                  <a:gd name="connsiteY79" fmla="*/ 2110853 h 2423918"/>
                  <a:gd name="connsiteX80" fmla="*/ 7314032 w 8391928"/>
                  <a:gd name="connsiteY80" fmla="*/ 1328681 h 2423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8391928" h="2423918">
                    <a:moveTo>
                      <a:pt x="1023545" y="281513"/>
                    </a:moveTo>
                    <a:lnTo>
                      <a:pt x="860489" y="281513"/>
                    </a:lnTo>
                    <a:cubicBezTo>
                      <a:pt x="564024" y="281513"/>
                      <a:pt x="407886" y="431390"/>
                      <a:pt x="407886" y="653248"/>
                    </a:cubicBezTo>
                    <a:cubicBezTo>
                      <a:pt x="407886" y="904933"/>
                      <a:pt x="515849" y="1021285"/>
                      <a:pt x="738197" y="1170916"/>
                    </a:cubicBezTo>
                    <a:lnTo>
                      <a:pt x="920770" y="1294170"/>
                    </a:lnTo>
                    <a:lnTo>
                      <a:pt x="392816" y="2081025"/>
                    </a:lnTo>
                    <a:lnTo>
                      <a:pt x="0" y="2081025"/>
                    </a:lnTo>
                    <a:lnTo>
                      <a:pt x="473355" y="1376997"/>
                    </a:lnTo>
                    <a:cubicBezTo>
                      <a:pt x="200114" y="1182501"/>
                      <a:pt x="47187" y="994169"/>
                      <a:pt x="47187" y="673215"/>
                    </a:cubicBezTo>
                    <a:cubicBezTo>
                      <a:pt x="47187" y="271652"/>
                      <a:pt x="326358" y="0"/>
                      <a:pt x="856536" y="0"/>
                    </a:cubicBezTo>
                    <a:lnTo>
                      <a:pt x="1383502" y="0"/>
                    </a:lnTo>
                    <a:lnTo>
                      <a:pt x="1383502" y="2081025"/>
                    </a:lnTo>
                    <a:lnTo>
                      <a:pt x="1022309" y="2081025"/>
                    </a:lnTo>
                    <a:lnTo>
                      <a:pt x="1022309" y="281513"/>
                    </a:lnTo>
                    <a:close/>
                    <a:moveTo>
                      <a:pt x="2876449" y="575105"/>
                    </a:moveTo>
                    <a:lnTo>
                      <a:pt x="2876449" y="2081025"/>
                    </a:lnTo>
                    <a:lnTo>
                      <a:pt x="2519950" y="2081025"/>
                    </a:lnTo>
                    <a:lnTo>
                      <a:pt x="2519950" y="1452675"/>
                    </a:lnTo>
                    <a:lnTo>
                      <a:pt x="2043136" y="1452675"/>
                    </a:lnTo>
                    <a:lnTo>
                      <a:pt x="2043136" y="2081025"/>
                    </a:lnTo>
                    <a:lnTo>
                      <a:pt x="1686637" y="2081025"/>
                    </a:lnTo>
                    <a:lnTo>
                      <a:pt x="1686637" y="575105"/>
                    </a:lnTo>
                    <a:lnTo>
                      <a:pt x="2043136" y="575105"/>
                    </a:lnTo>
                    <a:lnTo>
                      <a:pt x="2043136" y="1171409"/>
                    </a:lnTo>
                    <a:lnTo>
                      <a:pt x="2519950" y="1171409"/>
                    </a:lnTo>
                    <a:lnTo>
                      <a:pt x="2519950" y="575105"/>
                    </a:lnTo>
                    <a:close/>
                    <a:moveTo>
                      <a:pt x="4487241" y="2423919"/>
                    </a:moveTo>
                    <a:lnTo>
                      <a:pt x="4157424" y="2423919"/>
                    </a:lnTo>
                    <a:lnTo>
                      <a:pt x="4157424" y="2078807"/>
                    </a:lnTo>
                    <a:lnTo>
                      <a:pt x="3356228" y="2078807"/>
                    </a:lnTo>
                    <a:lnTo>
                      <a:pt x="3356228" y="2423919"/>
                    </a:lnTo>
                    <a:lnTo>
                      <a:pt x="3025917" y="2423919"/>
                    </a:lnTo>
                    <a:lnTo>
                      <a:pt x="3025917" y="1799019"/>
                    </a:lnTo>
                    <a:lnTo>
                      <a:pt x="3137585" y="1799019"/>
                    </a:lnTo>
                    <a:cubicBezTo>
                      <a:pt x="3263089" y="1547581"/>
                      <a:pt x="3288041" y="1071573"/>
                      <a:pt x="3288041" y="703535"/>
                    </a:cubicBezTo>
                    <a:lnTo>
                      <a:pt x="3288041" y="574611"/>
                    </a:lnTo>
                    <a:lnTo>
                      <a:pt x="4328880" y="574611"/>
                    </a:lnTo>
                    <a:lnTo>
                      <a:pt x="4328880" y="1799019"/>
                    </a:lnTo>
                    <a:lnTo>
                      <a:pt x="4487735" y="1799019"/>
                    </a:lnTo>
                    <a:close/>
                    <a:moveTo>
                      <a:pt x="3972380" y="857110"/>
                    </a:moveTo>
                    <a:lnTo>
                      <a:pt x="3594635" y="857110"/>
                    </a:lnTo>
                    <a:lnTo>
                      <a:pt x="3594635" y="901728"/>
                    </a:lnTo>
                    <a:cubicBezTo>
                      <a:pt x="3594635" y="1161795"/>
                      <a:pt x="3567459" y="1572232"/>
                      <a:pt x="3467896" y="1800252"/>
                    </a:cubicBezTo>
                    <a:lnTo>
                      <a:pt x="3972380" y="1800252"/>
                    </a:lnTo>
                    <a:close/>
                    <a:moveTo>
                      <a:pt x="5288931" y="2110113"/>
                    </a:moveTo>
                    <a:cubicBezTo>
                      <a:pt x="4833117" y="2110113"/>
                      <a:pt x="4574698" y="1855963"/>
                      <a:pt x="4574698" y="1331639"/>
                    </a:cubicBezTo>
                    <a:cubicBezTo>
                      <a:pt x="4574698" y="876831"/>
                      <a:pt x="4782224" y="544784"/>
                      <a:pt x="5217039" y="544784"/>
                    </a:cubicBezTo>
                    <a:cubicBezTo>
                      <a:pt x="5573538" y="544784"/>
                      <a:pt x="5804533" y="741991"/>
                      <a:pt x="5804533" y="1266314"/>
                    </a:cubicBezTo>
                    <a:lnTo>
                      <a:pt x="5804533" y="1454401"/>
                    </a:lnTo>
                    <a:lnTo>
                      <a:pt x="4943797" y="1454401"/>
                    </a:lnTo>
                    <a:cubicBezTo>
                      <a:pt x="4958620" y="1706086"/>
                      <a:pt x="5057936" y="1828847"/>
                      <a:pt x="5318825" y="1828847"/>
                    </a:cubicBezTo>
                    <a:cubicBezTo>
                      <a:pt x="5485785" y="1826151"/>
                      <a:pt x="5648716" y="1777252"/>
                      <a:pt x="5789462" y="1687597"/>
                    </a:cubicBezTo>
                    <a:lnTo>
                      <a:pt x="5789462" y="1978724"/>
                    </a:lnTo>
                    <a:cubicBezTo>
                      <a:pt x="5685206" y="2050212"/>
                      <a:pt x="5517456" y="2109620"/>
                      <a:pt x="5288931" y="2109620"/>
                    </a:cubicBezTo>
                    <a:close/>
                    <a:moveTo>
                      <a:pt x="4943056" y="1191622"/>
                    </a:moveTo>
                    <a:lnTo>
                      <a:pt x="5441117" y="1191622"/>
                    </a:lnTo>
                    <a:lnTo>
                      <a:pt x="5441117" y="1162041"/>
                    </a:lnTo>
                    <a:cubicBezTo>
                      <a:pt x="5441117" y="973709"/>
                      <a:pt x="5386764" y="827529"/>
                      <a:pt x="5209874" y="827529"/>
                    </a:cubicBezTo>
                    <a:cubicBezTo>
                      <a:pt x="5039901" y="825557"/>
                      <a:pt x="4953679" y="952016"/>
                      <a:pt x="4943797" y="1191129"/>
                    </a:cubicBezTo>
                    <a:close/>
                    <a:moveTo>
                      <a:pt x="6400674" y="1341746"/>
                    </a:moveTo>
                    <a:lnTo>
                      <a:pt x="6400674" y="2081272"/>
                    </a:lnTo>
                    <a:lnTo>
                      <a:pt x="6044175" y="2081272"/>
                    </a:lnTo>
                    <a:lnTo>
                      <a:pt x="6044175" y="575105"/>
                    </a:lnTo>
                    <a:lnTo>
                      <a:pt x="6401909" y="575105"/>
                    </a:lnTo>
                    <a:lnTo>
                      <a:pt x="6401909" y="1269273"/>
                    </a:lnTo>
                    <a:lnTo>
                      <a:pt x="6906888" y="575105"/>
                    </a:lnTo>
                    <a:lnTo>
                      <a:pt x="7267339" y="575105"/>
                    </a:lnTo>
                    <a:lnTo>
                      <a:pt x="6762855" y="1269273"/>
                    </a:lnTo>
                    <a:lnTo>
                      <a:pt x="7335527" y="2079793"/>
                    </a:lnTo>
                    <a:lnTo>
                      <a:pt x="6929864" y="2079793"/>
                    </a:lnTo>
                    <a:close/>
                    <a:moveTo>
                      <a:pt x="7314773" y="1329174"/>
                    </a:moveTo>
                    <a:cubicBezTo>
                      <a:pt x="7314773" y="870668"/>
                      <a:pt x="7551945" y="544784"/>
                      <a:pt x="8008007" y="544784"/>
                    </a:cubicBezTo>
                    <a:cubicBezTo>
                      <a:pt x="8184897" y="544784"/>
                      <a:pt x="8317319" y="574365"/>
                      <a:pt x="8391929" y="616764"/>
                    </a:cubicBezTo>
                    <a:lnTo>
                      <a:pt x="8391929" y="918491"/>
                    </a:lnTo>
                    <a:cubicBezTo>
                      <a:pt x="8286478" y="858559"/>
                      <a:pt x="8167406" y="826565"/>
                      <a:pt x="8046053" y="825557"/>
                    </a:cubicBezTo>
                    <a:cubicBezTo>
                      <a:pt x="7812588" y="825557"/>
                      <a:pt x="7683378" y="992937"/>
                      <a:pt x="7683378" y="1320053"/>
                    </a:cubicBezTo>
                    <a:cubicBezTo>
                      <a:pt x="7683378" y="1631147"/>
                      <a:pt x="7788870" y="1829586"/>
                      <a:pt x="8043583" y="1829586"/>
                    </a:cubicBezTo>
                    <a:cubicBezTo>
                      <a:pt x="8193792" y="1829586"/>
                      <a:pt x="8302002" y="1790885"/>
                      <a:pt x="8391435" y="1727778"/>
                    </a:cubicBezTo>
                    <a:lnTo>
                      <a:pt x="8391435" y="2017919"/>
                    </a:lnTo>
                    <a:cubicBezTo>
                      <a:pt x="8304472" y="2081025"/>
                      <a:pt x="8187615" y="2110853"/>
                      <a:pt x="8022336" y="2110853"/>
                    </a:cubicBezTo>
                    <a:cubicBezTo>
                      <a:pt x="7545275" y="2110853"/>
                      <a:pt x="7314032" y="1832052"/>
                      <a:pt x="7314032" y="1328681"/>
                    </a:cubicBezTo>
                    <a:close/>
                  </a:path>
                </a:pathLst>
              </a:custGeom>
              <a:grpFill/>
              <a:ln w="247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10061096"/>
            <a:ext cx="12418695" cy="1818167"/>
          </a:xfrm>
          <a:prstGeom prst="rect">
            <a:avLst/>
          </a:prstGeom>
        </p:spPr>
        <p:txBody>
          <a:bodyPr lIns="0" tIns="0" rIns="0" bIns="251999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 baseline="0">
                <a:latin typeface="YS Text Light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ru-RU"/>
              <a:t>Имя и Фамилия, должность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065780" y="4434055"/>
            <a:ext cx="12418695" cy="3426766"/>
          </a:xfrm>
        </p:spPr>
        <p:txBody>
          <a:bodyPr vert="horz" tIns="216000" rIns="0" anchor="ctr" anchorCtr="0">
            <a:no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0" b="0" i="0">
                <a:latin typeface="YS Text Medium" pitchFamily="2" charset="77"/>
              </a:defRPr>
            </a:lvl1pPr>
          </a:lstStyle>
          <a:p>
            <a:r>
              <a:rPr lang="ru-RU"/>
              <a:t>Заголовок презентации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на белом фон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505326" y="4203427"/>
            <a:ext cx="16558531" cy="53091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15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звание секции </a:t>
            </a:r>
            <a:br>
              <a:rPr lang="ru-RU" dirty="0"/>
            </a:br>
            <a:r>
              <a:rPr lang="ru-RU" dirty="0"/>
              <a:t>или раздела презентации</a:t>
            </a:r>
          </a:p>
        </p:txBody>
      </p:sp>
      <p:sp>
        <p:nvSpPr>
          <p:cNvPr id="6" name="Rounded Rectangle 5"/>
          <p:cNvSpPr/>
          <p:nvPr userDrawn="1"/>
        </p:nvSpPr>
        <p:spPr>
          <a:xfrm rot="5400000">
            <a:off x="1673545" y="4087698"/>
            <a:ext cx="1836882" cy="1938718"/>
          </a:xfrm>
          <a:prstGeom prst="roundRect">
            <a:avLst>
              <a:gd name="adj" fmla="val 21234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878707" y="4549226"/>
            <a:ext cx="1426559" cy="1015663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defRPr lang="en-US" sz="6600" kern="1200" dirty="0">
                <a:solidFill>
                  <a:sysClr val="windowText" lastClr="000000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с фото на фон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4382412" cy="13716000"/>
          </a:xfrm>
          <a:custGeom>
            <a:avLst/>
            <a:gdLst>
              <a:gd name="connsiteX0" fmla="*/ 0 w 24382412"/>
              <a:gd name="connsiteY0" fmla="*/ 0 h 13716000"/>
              <a:gd name="connsiteX1" fmla="*/ 24382412 w 24382412"/>
              <a:gd name="connsiteY1" fmla="*/ 0 h 13716000"/>
              <a:gd name="connsiteX2" fmla="*/ 24382412 w 24382412"/>
              <a:gd name="connsiteY2" fmla="*/ 13716000 h 13716000"/>
              <a:gd name="connsiteX3" fmla="*/ 0 w 24382412"/>
              <a:gd name="connsiteY3" fmla="*/ 13716000 h 13716000"/>
              <a:gd name="connsiteX4" fmla="*/ 0 w 24382412"/>
              <a:gd name="connsiteY4" fmla="*/ 13715999 h 13716000"/>
              <a:gd name="connsiteX5" fmla="*/ 15479486 w 24382412"/>
              <a:gd name="connsiteY5" fmla="*/ 13715999 h 13716000"/>
              <a:gd name="connsiteX6" fmla="*/ 15479486 w 24382412"/>
              <a:gd name="connsiteY6" fmla="*/ 5334033 h 13716000"/>
              <a:gd name="connsiteX7" fmla="*/ 13803052 w 24382412"/>
              <a:gd name="connsiteY7" fmla="*/ 3657599 h 13716000"/>
              <a:gd name="connsiteX8" fmla="*/ 0 w 24382412"/>
              <a:gd name="connsiteY8" fmla="*/ 3657599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2412" h="13716000">
                <a:moveTo>
                  <a:pt x="0" y="0"/>
                </a:moveTo>
                <a:lnTo>
                  <a:pt x="24382412" y="0"/>
                </a:lnTo>
                <a:lnTo>
                  <a:pt x="24382412" y="13716000"/>
                </a:lnTo>
                <a:lnTo>
                  <a:pt x="0" y="13716000"/>
                </a:lnTo>
                <a:lnTo>
                  <a:pt x="0" y="13715999"/>
                </a:lnTo>
                <a:lnTo>
                  <a:pt x="15479486" y="13715999"/>
                </a:lnTo>
                <a:lnTo>
                  <a:pt x="15479486" y="5334033"/>
                </a:lnTo>
                <a:cubicBezTo>
                  <a:pt x="15479486" y="4408165"/>
                  <a:pt x="14728921" y="3657599"/>
                  <a:pt x="13803052" y="3657599"/>
                </a:cubicBezTo>
                <a:lnTo>
                  <a:pt x="0" y="36575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Google Shape;242;p37"/>
          <p:cNvSpPr/>
          <p:nvPr userDrawn="1"/>
        </p:nvSpPr>
        <p:spPr>
          <a:xfrm>
            <a:off x="4" y="3657600"/>
            <a:ext cx="15483836" cy="10058231"/>
          </a:xfrm>
          <a:prstGeom prst="round1Rect">
            <a:avLst>
              <a:gd name="adj" fmla="val 15087"/>
            </a:avLst>
          </a:prstGeom>
          <a:solidFill>
            <a:schemeClr val="lt1"/>
          </a:solidFill>
          <a:ln>
            <a:noFill/>
          </a:ln>
          <a:effectLst>
            <a:outerShdw blurRad="906865" dist="38100" dir="2700000" sx="101000" sy="101000" algn="tl" rotWithShape="0">
              <a:schemeClr val="dk1">
                <a:alpha val="9411"/>
              </a:schemeClr>
            </a:outerShdw>
          </a:effectLst>
        </p:spPr>
        <p:txBody>
          <a:bodyPr spcFirstLastPara="1" wrap="square" lIns="239984" tIns="575963" rIns="239984" bIns="575963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rgbClr val="000000"/>
              </a:buClr>
              <a:buSzPts val="3200"/>
            </a:pPr>
            <a:endParaRPr sz="853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491344" y="6032142"/>
            <a:ext cx="12420599" cy="53091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15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звание секции </a:t>
            </a:r>
            <a:br>
              <a:rPr lang="ru-RU" dirty="0"/>
            </a:br>
            <a:r>
              <a:rPr lang="ru-RU" dirty="0"/>
              <a:t>или раздела презентации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с жёлтым фоном и фото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7607518" y="2698053"/>
            <a:ext cx="16774894" cy="11017948"/>
          </a:xfrm>
          <a:custGeom>
            <a:avLst/>
            <a:gdLst>
              <a:gd name="connsiteX0" fmla="*/ 1531604 w 16774894"/>
              <a:gd name="connsiteY0" fmla="*/ 0 h 11017948"/>
              <a:gd name="connsiteX1" fmla="*/ 16774894 w 16774894"/>
              <a:gd name="connsiteY1" fmla="*/ 0 h 11017948"/>
              <a:gd name="connsiteX2" fmla="*/ 16774894 w 16774894"/>
              <a:gd name="connsiteY2" fmla="*/ 11017948 h 11017948"/>
              <a:gd name="connsiteX3" fmla="*/ 0 w 16774894"/>
              <a:gd name="connsiteY3" fmla="*/ 11017948 h 11017948"/>
              <a:gd name="connsiteX4" fmla="*/ 0 w 16774894"/>
              <a:gd name="connsiteY4" fmla="*/ 11017778 h 11017948"/>
              <a:gd name="connsiteX5" fmla="*/ 6863855 w 16774894"/>
              <a:gd name="connsiteY5" fmla="*/ 11017778 h 11017948"/>
              <a:gd name="connsiteX6" fmla="*/ 6863855 w 16774894"/>
              <a:gd name="connsiteY6" fmla="*/ 5587776 h 11017948"/>
              <a:gd name="connsiteX7" fmla="*/ 4986333 w 16774894"/>
              <a:gd name="connsiteY7" fmla="*/ 3710254 h 11017948"/>
              <a:gd name="connsiteX8" fmla="*/ 0 w 16774894"/>
              <a:gd name="connsiteY8" fmla="*/ 3710254 h 11017948"/>
              <a:gd name="connsiteX9" fmla="*/ 0 w 16774894"/>
              <a:gd name="connsiteY9" fmla="*/ 1531605 h 11017948"/>
              <a:gd name="connsiteX10" fmla="*/ 1531604 w 16774894"/>
              <a:gd name="connsiteY10" fmla="*/ 0 h 11017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774894" h="11017948">
                <a:moveTo>
                  <a:pt x="1531604" y="0"/>
                </a:moveTo>
                <a:lnTo>
                  <a:pt x="16774894" y="0"/>
                </a:lnTo>
                <a:lnTo>
                  <a:pt x="16774894" y="11017948"/>
                </a:lnTo>
                <a:lnTo>
                  <a:pt x="0" y="11017948"/>
                </a:lnTo>
                <a:lnTo>
                  <a:pt x="0" y="11017778"/>
                </a:lnTo>
                <a:lnTo>
                  <a:pt x="6863855" y="11017778"/>
                </a:lnTo>
                <a:lnTo>
                  <a:pt x="6863855" y="5587776"/>
                </a:lnTo>
                <a:cubicBezTo>
                  <a:pt x="6863855" y="4550849"/>
                  <a:pt x="6023260" y="3710254"/>
                  <a:pt x="4986333" y="3710254"/>
                </a:cubicBezTo>
                <a:lnTo>
                  <a:pt x="0" y="3710254"/>
                </a:lnTo>
                <a:lnTo>
                  <a:pt x="0" y="1531605"/>
                </a:lnTo>
                <a:cubicBezTo>
                  <a:pt x="0" y="685723"/>
                  <a:pt x="685724" y="0"/>
                  <a:pt x="153160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Google Shape;242;p37"/>
          <p:cNvSpPr/>
          <p:nvPr userDrawn="1"/>
        </p:nvSpPr>
        <p:spPr>
          <a:xfrm>
            <a:off x="4" y="6408307"/>
            <a:ext cx="14471369" cy="7307524"/>
          </a:xfrm>
          <a:prstGeom prst="round1Rect">
            <a:avLst>
              <a:gd name="adj" fmla="val 25693"/>
            </a:avLst>
          </a:prstGeom>
          <a:solidFill>
            <a:schemeClr val="lt1"/>
          </a:solidFill>
          <a:ln>
            <a:noFill/>
          </a:ln>
          <a:effectLst>
            <a:outerShdw blurRad="906865" dist="38100" dir="2700000" sx="101000" sy="101000" algn="tl" rotWithShape="0">
              <a:schemeClr val="dk1">
                <a:alpha val="9411"/>
              </a:schemeClr>
            </a:outerShdw>
          </a:effectLst>
        </p:spPr>
        <p:txBody>
          <a:bodyPr spcFirstLastPara="1" wrap="square" lIns="239984" tIns="575963" rIns="239984" bIns="575963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rgbClr val="000000"/>
              </a:buClr>
              <a:buSzPts val="3200"/>
            </a:pPr>
            <a:endParaRPr sz="853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491345" y="8369298"/>
            <a:ext cx="12184898" cy="338554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10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звание секции </a:t>
            </a:r>
            <a:br>
              <a:rPr lang="ru-RU" dirty="0"/>
            </a:br>
            <a:r>
              <a:rPr lang="ru-RU" dirty="0"/>
              <a:t>или раздела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воды и резюме по разделу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4760575" y="3257218"/>
            <a:ext cx="7721600" cy="135421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400">
                <a:latin typeface="+mn-lt"/>
              </a:defRPr>
            </a:lvl1pPr>
            <a:lvl2pPr marL="0" indent="0" algn="l" defTabSz="19081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4400">
                <a:latin typeface="+mn-lt"/>
              </a:defRPr>
            </a:lvl2pPr>
            <a:lvl3pPr>
              <a:defRPr sz="4400">
                <a:latin typeface="+mn-lt"/>
              </a:defRPr>
            </a:lvl3pPr>
            <a:lvl4pPr>
              <a:defRPr sz="4400">
                <a:latin typeface="+mn-lt"/>
              </a:defRPr>
            </a:lvl4pPr>
            <a:lvl5pPr>
              <a:defRPr sz="4400">
                <a:latin typeface="+mn-lt"/>
              </a:defRPr>
            </a:lvl5pPr>
          </a:lstStyle>
          <a:p>
            <a:pPr marL="0" lvl="1" indent="0" algn="l" defTabSz="19081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</a:pPr>
            <a:r>
              <a:rPr lang="ru-RU" dirty="0"/>
              <a:t>Здесь можно написать основные выводы</a:t>
            </a:r>
          </a:p>
        </p:txBody>
      </p:sp>
      <p:sp>
        <p:nvSpPr>
          <p:cNvPr id="3" name="Freeform 2"/>
          <p:cNvSpPr/>
          <p:nvPr userDrawn="1"/>
        </p:nvSpPr>
        <p:spPr>
          <a:xfrm rot="21134446">
            <a:off x="-879126" y="-484705"/>
            <a:ext cx="9711269" cy="12364516"/>
          </a:xfrm>
          <a:custGeom>
            <a:avLst/>
            <a:gdLst>
              <a:gd name="connsiteX0" fmla="*/ 1684766 w 9711269"/>
              <a:gd name="connsiteY0" fmla="*/ 0 h 12364516"/>
              <a:gd name="connsiteX1" fmla="*/ 9186707 w 9711269"/>
              <a:gd name="connsiteY1" fmla="*/ 1022201 h 12364516"/>
              <a:gd name="connsiteX2" fmla="*/ 9316609 w 9711269"/>
              <a:gd name="connsiteY2" fmla="*/ 1236026 h 12364516"/>
              <a:gd name="connsiteX3" fmla="*/ 9711268 w 9711269"/>
              <a:gd name="connsiteY3" fmla="*/ 2794655 h 12364516"/>
              <a:gd name="connsiteX4" fmla="*/ 9711269 w 9711269"/>
              <a:gd name="connsiteY4" fmla="*/ 9094614 h 12364516"/>
              <a:gd name="connsiteX5" fmla="*/ 6441366 w 9711269"/>
              <a:gd name="connsiteY5" fmla="*/ 12364516 h 12364516"/>
              <a:gd name="connsiteX6" fmla="*/ 0 w 9711269"/>
              <a:gd name="connsiteY6" fmla="*/ 12364516 h 1236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1269" h="12364516">
                <a:moveTo>
                  <a:pt x="1684766" y="0"/>
                </a:moveTo>
                <a:lnTo>
                  <a:pt x="9186707" y="1022201"/>
                </a:lnTo>
                <a:lnTo>
                  <a:pt x="9316609" y="1236026"/>
                </a:lnTo>
                <a:cubicBezTo>
                  <a:pt x="9568301" y="1699349"/>
                  <a:pt x="9711269" y="2230306"/>
                  <a:pt x="9711268" y="2794655"/>
                </a:cubicBezTo>
                <a:lnTo>
                  <a:pt x="9711269" y="9094614"/>
                </a:lnTo>
                <a:cubicBezTo>
                  <a:pt x="9711268" y="10900531"/>
                  <a:pt x="8247284" y="12364516"/>
                  <a:pt x="6441366" y="12364516"/>
                </a:cubicBezTo>
                <a:lnTo>
                  <a:pt x="0" y="12364516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  <a:effectLst/>
        </p:spPr>
        <p:txBody>
          <a:bodyPr wrap="square" lIns="45715" tIns="45715" rIns="45715" bIns="45715" anchor="ctr">
            <a:noAutofit/>
          </a:bodyPr>
          <a:lstStyle/>
          <a:p>
            <a:pPr defTabSz="914400" hangingPunct="0">
              <a:defRPr sz="1800">
                <a:solidFill>
                  <a:srgbClr val="000000"/>
                </a:solidFill>
                <a:latin typeface="YS Text Regular"/>
                <a:ea typeface="YS Text Regular"/>
                <a:cs typeface="YS Text Regular"/>
                <a:sym typeface="YS Text Regular"/>
              </a:defRPr>
            </a:pPr>
            <a:endParaRPr sz="1800" kern="0">
              <a:solidFill>
                <a:srgbClr val="000000"/>
              </a:solidFill>
              <a:latin typeface="YS Text Regular"/>
              <a:ea typeface="YS Text Regular"/>
              <a:cs typeface="YS Text Regular"/>
              <a:sym typeface="YS Text Regular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587600" y="6858000"/>
            <a:ext cx="6380743" cy="1677261"/>
          </a:xfrm>
        </p:spPr>
        <p:txBody>
          <a:bodyPr vert="horz" wrap="square">
            <a:spAutoFit/>
          </a:bodyPr>
          <a:lstStyle/>
          <a:p>
            <a:r>
              <a:rPr lang="en-US" sz="9600" dirty="0"/>
              <a:t>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587600" y="4410907"/>
            <a:ext cx="1765200" cy="1806947"/>
            <a:chOff x="1845144" y="4462457"/>
            <a:chExt cx="1359742" cy="1391900"/>
          </a:xfrm>
        </p:grpSpPr>
        <p:sp>
          <p:nvSpPr>
            <p:cNvPr id="6" name="Freeform 5"/>
            <p:cNvSpPr/>
            <p:nvPr/>
          </p:nvSpPr>
          <p:spPr>
            <a:xfrm>
              <a:off x="2122010" y="4483939"/>
              <a:ext cx="937579" cy="1220698"/>
            </a:xfrm>
            <a:custGeom>
              <a:avLst/>
              <a:gdLst>
                <a:gd name="connsiteX0" fmla="*/ 142445 w 937579"/>
                <a:gd name="connsiteY0" fmla="*/ 1118618 h 1220698"/>
                <a:gd name="connsiteX1" fmla="*/ 142445 w 937579"/>
                <a:gd name="connsiteY1" fmla="*/ 103240 h 1220698"/>
                <a:gd name="connsiteX2" fmla="*/ 786069 w 937579"/>
                <a:gd name="connsiteY2" fmla="*/ 103240 h 1220698"/>
                <a:gd name="connsiteX3" fmla="*/ 786069 w 937579"/>
                <a:gd name="connsiteY3" fmla="*/ 1117801 h 1220698"/>
                <a:gd name="connsiteX4" fmla="*/ 142445 w 937579"/>
                <a:gd name="connsiteY4" fmla="*/ 1118618 h 122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7579" h="1220698">
                  <a:moveTo>
                    <a:pt x="142445" y="1118618"/>
                  </a:moveTo>
                  <a:cubicBezTo>
                    <a:pt x="-74539" y="901563"/>
                    <a:pt x="-18359" y="266747"/>
                    <a:pt x="142445" y="103240"/>
                  </a:cubicBezTo>
                  <a:cubicBezTo>
                    <a:pt x="303249" y="-60267"/>
                    <a:pt x="676966" y="-5901"/>
                    <a:pt x="786069" y="103240"/>
                  </a:cubicBezTo>
                  <a:cubicBezTo>
                    <a:pt x="1023815" y="341960"/>
                    <a:pt x="948908" y="956337"/>
                    <a:pt x="786069" y="1117801"/>
                  </a:cubicBezTo>
                  <a:cubicBezTo>
                    <a:pt x="623229" y="1279264"/>
                    <a:pt x="251141" y="1228168"/>
                    <a:pt x="142445" y="1118618"/>
                  </a:cubicBezTo>
                  <a:close/>
                </a:path>
              </a:pathLst>
            </a:custGeom>
            <a:solidFill>
              <a:srgbClr val="FFDE40"/>
            </a:solidFill>
            <a:ln w="406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1845144" y="4462457"/>
              <a:ext cx="1359742" cy="1391900"/>
            </a:xfrm>
            <a:custGeom>
              <a:avLst/>
              <a:gdLst>
                <a:gd name="connsiteX0" fmla="*/ 556097 w 1359742"/>
                <a:gd name="connsiteY0" fmla="*/ 1391900 h 1391900"/>
                <a:gd name="connsiteX1" fmla="*/ 63914 w 1359742"/>
                <a:gd name="connsiteY1" fmla="*/ 1370236 h 1391900"/>
                <a:gd name="connsiteX2" fmla="*/ 29718 w 1359742"/>
                <a:gd name="connsiteY2" fmla="*/ 1367374 h 1391900"/>
                <a:gd name="connsiteX3" fmla="*/ 26868 w 1359742"/>
                <a:gd name="connsiteY3" fmla="*/ 1333447 h 1391900"/>
                <a:gd name="connsiteX4" fmla="*/ 26868 w 1359742"/>
                <a:gd name="connsiteY4" fmla="*/ 99787 h 1391900"/>
                <a:gd name="connsiteX5" fmla="*/ 29718 w 1359742"/>
                <a:gd name="connsiteY5" fmla="*/ 65450 h 1391900"/>
                <a:gd name="connsiteX6" fmla="*/ 63914 w 1359742"/>
                <a:gd name="connsiteY6" fmla="*/ 62589 h 1391900"/>
                <a:gd name="connsiteX7" fmla="*/ 955868 w 1359742"/>
                <a:gd name="connsiteY7" fmla="*/ 55231 h 1391900"/>
                <a:gd name="connsiteX8" fmla="*/ 949761 w 1359742"/>
                <a:gd name="connsiteY8" fmla="*/ 136984 h 1391900"/>
                <a:gd name="connsiteX9" fmla="*/ 105031 w 1359742"/>
                <a:gd name="connsiteY9" fmla="*/ 141072 h 1391900"/>
                <a:gd name="connsiteX10" fmla="*/ 105031 w 1359742"/>
                <a:gd name="connsiteY10" fmla="*/ 1291752 h 1391900"/>
                <a:gd name="connsiteX11" fmla="*/ 1006755 w 1359742"/>
                <a:gd name="connsiteY11" fmla="*/ 1291752 h 1391900"/>
                <a:gd name="connsiteX12" fmla="*/ 1024668 w 1359742"/>
                <a:gd name="connsiteY12" fmla="*/ 1000301 h 1391900"/>
                <a:gd name="connsiteX13" fmla="*/ 1106087 w 1359742"/>
                <a:gd name="connsiteY13" fmla="*/ 1003980 h 1391900"/>
                <a:gd name="connsiteX14" fmla="*/ 1084918 w 1359742"/>
                <a:gd name="connsiteY14" fmla="*/ 1333447 h 1391900"/>
                <a:gd name="connsiteX15" fmla="*/ 1082069 w 1359742"/>
                <a:gd name="connsiteY15" fmla="*/ 1367374 h 1391900"/>
                <a:gd name="connsiteX16" fmla="*/ 1047872 w 1359742"/>
                <a:gd name="connsiteY16" fmla="*/ 1370644 h 1391900"/>
                <a:gd name="connsiteX17" fmla="*/ 556097 w 1359742"/>
                <a:gd name="connsiteY17" fmla="*/ 1391900 h 1391900"/>
                <a:gd name="connsiteX18" fmla="*/ 409134 w 1359742"/>
                <a:gd name="connsiteY18" fmla="*/ 1131107 h 1391900"/>
                <a:gd name="connsiteX19" fmla="*/ 342777 w 1359742"/>
                <a:gd name="connsiteY19" fmla="*/ 1085325 h 1391900"/>
                <a:gd name="connsiteX20" fmla="*/ 410355 w 1359742"/>
                <a:gd name="connsiteY20" fmla="*/ 793465 h 1391900"/>
                <a:gd name="connsiteX21" fmla="*/ 469385 w 1359742"/>
                <a:gd name="connsiteY21" fmla="*/ 849875 h 1391900"/>
                <a:gd name="connsiteX22" fmla="*/ 414833 w 1359742"/>
                <a:gd name="connsiteY22" fmla="*/ 1046901 h 1391900"/>
                <a:gd name="connsiteX23" fmla="*/ 450658 w 1359742"/>
                <a:gd name="connsiteY23" fmla="*/ 1020740 h 1391900"/>
                <a:gd name="connsiteX24" fmla="*/ 532078 w 1359742"/>
                <a:gd name="connsiteY24" fmla="*/ 979863 h 1391900"/>
                <a:gd name="connsiteX25" fmla="*/ 532078 w 1359742"/>
                <a:gd name="connsiteY25" fmla="*/ 979863 h 1391900"/>
                <a:gd name="connsiteX26" fmla="*/ 609427 w 1359742"/>
                <a:gd name="connsiteY26" fmla="*/ 1028915 h 1391900"/>
                <a:gd name="connsiteX27" fmla="*/ 620418 w 1359742"/>
                <a:gd name="connsiteY27" fmla="*/ 1043631 h 1391900"/>
                <a:gd name="connsiteX28" fmla="*/ 689218 w 1359742"/>
                <a:gd name="connsiteY28" fmla="*/ 1043631 h 1391900"/>
                <a:gd name="connsiteX29" fmla="*/ 899281 w 1359742"/>
                <a:gd name="connsiteY29" fmla="*/ 1043631 h 1391900"/>
                <a:gd name="connsiteX30" fmla="*/ 899281 w 1359742"/>
                <a:gd name="connsiteY30" fmla="*/ 1125384 h 1391900"/>
                <a:gd name="connsiteX31" fmla="*/ 690846 w 1359742"/>
                <a:gd name="connsiteY31" fmla="*/ 1125384 h 1391900"/>
                <a:gd name="connsiteX32" fmla="*/ 618383 w 1359742"/>
                <a:gd name="connsiteY32" fmla="*/ 1125384 h 1391900"/>
                <a:gd name="connsiteX33" fmla="*/ 543884 w 1359742"/>
                <a:gd name="connsiteY33" fmla="*/ 1075923 h 1391900"/>
                <a:gd name="connsiteX34" fmla="*/ 531671 w 1359742"/>
                <a:gd name="connsiteY34" fmla="*/ 1059572 h 1391900"/>
                <a:gd name="connsiteX35" fmla="*/ 503581 w 1359742"/>
                <a:gd name="connsiteY35" fmla="*/ 1084507 h 1391900"/>
                <a:gd name="connsiteX36" fmla="*/ 412798 w 1359742"/>
                <a:gd name="connsiteY36" fmla="*/ 1131516 h 1391900"/>
                <a:gd name="connsiteX37" fmla="*/ 890325 w 1359742"/>
                <a:gd name="connsiteY37" fmla="*/ 929993 h 1391900"/>
                <a:gd name="connsiteX38" fmla="*/ 853686 w 1359742"/>
                <a:gd name="connsiteY38" fmla="*/ 788968 h 1391900"/>
                <a:gd name="connsiteX39" fmla="*/ 861421 w 1359742"/>
                <a:gd name="connsiteY39" fmla="*/ 675331 h 1391900"/>
                <a:gd name="connsiteX40" fmla="*/ 1123186 w 1359742"/>
                <a:gd name="connsiteY40" fmla="*/ 40107 h 1391900"/>
                <a:gd name="connsiteX41" fmla="*/ 1137434 w 1359742"/>
                <a:gd name="connsiteY41" fmla="*/ 19259 h 1391900"/>
                <a:gd name="connsiteX42" fmla="*/ 1158196 w 1359742"/>
                <a:gd name="connsiteY42" fmla="*/ 5361 h 1391900"/>
                <a:gd name="connsiteX43" fmla="*/ 1268927 w 1359742"/>
                <a:gd name="connsiteY43" fmla="*/ 15581 h 1391900"/>
                <a:gd name="connsiteX44" fmla="*/ 1354825 w 1359742"/>
                <a:gd name="connsiteY44" fmla="*/ 138211 h 1391900"/>
                <a:gd name="connsiteX45" fmla="*/ 1091432 w 1359742"/>
                <a:gd name="connsiteY45" fmla="*/ 771391 h 1391900"/>
                <a:gd name="connsiteX46" fmla="*/ 1016526 w 1359742"/>
                <a:gd name="connsiteY46" fmla="*/ 857233 h 1391900"/>
                <a:gd name="connsiteX47" fmla="*/ 1192800 w 1359742"/>
                <a:gd name="connsiteY47" fmla="*/ 80575 h 1391900"/>
                <a:gd name="connsiteX48" fmla="*/ 935106 w 1359742"/>
                <a:gd name="connsiteY48" fmla="*/ 706397 h 1391900"/>
                <a:gd name="connsiteX49" fmla="*/ 931442 w 1359742"/>
                <a:gd name="connsiteY49" fmla="*/ 767713 h 1391900"/>
                <a:gd name="connsiteX50" fmla="*/ 941619 w 1359742"/>
                <a:gd name="connsiteY50" fmla="*/ 806137 h 1391900"/>
                <a:gd name="connsiteX51" fmla="*/ 976223 w 1359742"/>
                <a:gd name="connsiteY51" fmla="*/ 786516 h 1391900"/>
                <a:gd name="connsiteX52" fmla="*/ 1016933 w 1359742"/>
                <a:gd name="connsiteY52" fmla="*/ 740325 h 1391900"/>
                <a:gd name="connsiteX53" fmla="*/ 1275033 w 1359742"/>
                <a:gd name="connsiteY53" fmla="*/ 114502 h 1391900"/>
                <a:gd name="connsiteX54" fmla="*/ 1237173 w 1359742"/>
                <a:gd name="connsiteY54" fmla="*/ 91203 h 1391900"/>
                <a:gd name="connsiteX55" fmla="*/ 1192799 w 1359742"/>
                <a:gd name="connsiteY55" fmla="*/ 80575 h 139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359742" h="1391900">
                  <a:moveTo>
                    <a:pt x="556097" y="1391900"/>
                  </a:moveTo>
                  <a:cubicBezTo>
                    <a:pt x="393257" y="1391900"/>
                    <a:pt x="227161" y="1384951"/>
                    <a:pt x="63914" y="1370236"/>
                  </a:cubicBezTo>
                  <a:lnTo>
                    <a:pt x="29718" y="1367374"/>
                  </a:lnTo>
                  <a:lnTo>
                    <a:pt x="26868" y="1333447"/>
                  </a:lnTo>
                  <a:cubicBezTo>
                    <a:pt x="-8956" y="923013"/>
                    <a:pt x="-8956" y="510220"/>
                    <a:pt x="26868" y="99787"/>
                  </a:cubicBezTo>
                  <a:lnTo>
                    <a:pt x="29718" y="65450"/>
                  </a:lnTo>
                  <a:lnTo>
                    <a:pt x="63914" y="62589"/>
                  </a:lnTo>
                  <a:cubicBezTo>
                    <a:pt x="360589" y="36840"/>
                    <a:pt x="658812" y="34380"/>
                    <a:pt x="955868" y="55231"/>
                  </a:cubicBezTo>
                  <a:lnTo>
                    <a:pt x="949761" y="136984"/>
                  </a:lnTo>
                  <a:cubicBezTo>
                    <a:pt x="668487" y="116886"/>
                    <a:pt x="386099" y="118252"/>
                    <a:pt x="105031" y="141072"/>
                  </a:cubicBezTo>
                  <a:cubicBezTo>
                    <a:pt x="73685" y="523986"/>
                    <a:pt x="73685" y="908838"/>
                    <a:pt x="105031" y="1291752"/>
                  </a:cubicBezTo>
                  <a:cubicBezTo>
                    <a:pt x="405109" y="1316278"/>
                    <a:pt x="706677" y="1316278"/>
                    <a:pt x="1006755" y="1291752"/>
                  </a:cubicBezTo>
                  <a:cubicBezTo>
                    <a:pt x="1014897" y="1195283"/>
                    <a:pt x="1020597" y="1097588"/>
                    <a:pt x="1024668" y="1000301"/>
                  </a:cubicBezTo>
                  <a:lnTo>
                    <a:pt x="1106087" y="1003980"/>
                  </a:lnTo>
                  <a:cubicBezTo>
                    <a:pt x="1101609" y="1113530"/>
                    <a:pt x="1094689" y="1224306"/>
                    <a:pt x="1084918" y="1333447"/>
                  </a:cubicBezTo>
                  <a:lnTo>
                    <a:pt x="1082069" y="1367374"/>
                  </a:lnTo>
                  <a:lnTo>
                    <a:pt x="1047872" y="1370644"/>
                  </a:lnTo>
                  <a:cubicBezTo>
                    <a:pt x="884490" y="1384815"/>
                    <a:pt x="720565" y="1391900"/>
                    <a:pt x="556097" y="1391900"/>
                  </a:cubicBezTo>
                  <a:close/>
                  <a:moveTo>
                    <a:pt x="409134" y="1131107"/>
                  </a:moveTo>
                  <a:cubicBezTo>
                    <a:pt x="379760" y="1130947"/>
                    <a:pt x="353458" y="1112801"/>
                    <a:pt x="342777" y="1085325"/>
                  </a:cubicBezTo>
                  <a:cubicBezTo>
                    <a:pt x="311837" y="1015426"/>
                    <a:pt x="347662" y="860094"/>
                    <a:pt x="410355" y="793465"/>
                  </a:cubicBezTo>
                  <a:lnTo>
                    <a:pt x="469385" y="849875"/>
                  </a:lnTo>
                  <a:cubicBezTo>
                    <a:pt x="428364" y="906908"/>
                    <a:pt x="409015" y="976793"/>
                    <a:pt x="414833" y="1046901"/>
                  </a:cubicBezTo>
                  <a:cubicBezTo>
                    <a:pt x="427410" y="1039092"/>
                    <a:pt x="439385" y="1030348"/>
                    <a:pt x="450658" y="1020740"/>
                  </a:cubicBezTo>
                  <a:cubicBezTo>
                    <a:pt x="472789" y="998782"/>
                    <a:pt x="501305" y="984465"/>
                    <a:pt x="532078" y="979863"/>
                  </a:cubicBezTo>
                  <a:lnTo>
                    <a:pt x="532078" y="979863"/>
                  </a:lnTo>
                  <a:cubicBezTo>
                    <a:pt x="564703" y="981272"/>
                    <a:pt x="594140" y="999940"/>
                    <a:pt x="609427" y="1028915"/>
                  </a:cubicBezTo>
                  <a:cubicBezTo>
                    <a:pt x="612790" y="1034039"/>
                    <a:pt x="616460" y="1038954"/>
                    <a:pt x="620418" y="1043631"/>
                  </a:cubicBezTo>
                  <a:cubicBezTo>
                    <a:pt x="643328" y="1042152"/>
                    <a:pt x="666308" y="1042152"/>
                    <a:pt x="689218" y="1043631"/>
                  </a:cubicBezTo>
                  <a:lnTo>
                    <a:pt x="899281" y="1043631"/>
                  </a:lnTo>
                  <a:lnTo>
                    <a:pt x="899281" y="1125384"/>
                  </a:lnTo>
                  <a:lnTo>
                    <a:pt x="690846" y="1125384"/>
                  </a:lnTo>
                  <a:cubicBezTo>
                    <a:pt x="668456" y="1125384"/>
                    <a:pt x="643623" y="1125384"/>
                    <a:pt x="618383" y="1125384"/>
                  </a:cubicBezTo>
                  <a:cubicBezTo>
                    <a:pt x="586235" y="1124361"/>
                    <a:pt x="557410" y="1105224"/>
                    <a:pt x="543884" y="1075923"/>
                  </a:cubicBezTo>
                  <a:cubicBezTo>
                    <a:pt x="540454" y="1070019"/>
                    <a:pt x="536356" y="1064532"/>
                    <a:pt x="531671" y="1059572"/>
                  </a:cubicBezTo>
                  <a:cubicBezTo>
                    <a:pt x="523091" y="1068734"/>
                    <a:pt x="513688" y="1077081"/>
                    <a:pt x="503581" y="1084507"/>
                  </a:cubicBezTo>
                  <a:cubicBezTo>
                    <a:pt x="479124" y="1109548"/>
                    <a:pt x="447297" y="1126028"/>
                    <a:pt x="412798" y="1131516"/>
                  </a:cubicBezTo>
                  <a:close/>
                  <a:moveTo>
                    <a:pt x="890325" y="929993"/>
                  </a:moveTo>
                  <a:lnTo>
                    <a:pt x="853686" y="788968"/>
                  </a:lnTo>
                  <a:cubicBezTo>
                    <a:pt x="843785" y="751262"/>
                    <a:pt x="846503" y="711334"/>
                    <a:pt x="861421" y="675331"/>
                  </a:cubicBezTo>
                  <a:lnTo>
                    <a:pt x="1123186" y="40107"/>
                  </a:lnTo>
                  <a:cubicBezTo>
                    <a:pt x="1126539" y="32293"/>
                    <a:pt x="1131379" y="25212"/>
                    <a:pt x="1137434" y="19259"/>
                  </a:cubicBezTo>
                  <a:cubicBezTo>
                    <a:pt x="1143305" y="13213"/>
                    <a:pt x="1150380" y="8478"/>
                    <a:pt x="1158196" y="5361"/>
                  </a:cubicBezTo>
                  <a:cubicBezTo>
                    <a:pt x="1195157" y="-4384"/>
                    <a:pt x="1234354" y="-766"/>
                    <a:pt x="1268927" y="15581"/>
                  </a:cubicBezTo>
                  <a:cubicBezTo>
                    <a:pt x="1339355" y="45012"/>
                    <a:pt x="1373144" y="92429"/>
                    <a:pt x="1354825" y="138211"/>
                  </a:cubicBezTo>
                  <a:lnTo>
                    <a:pt x="1091432" y="771391"/>
                  </a:lnTo>
                  <a:cubicBezTo>
                    <a:pt x="1076458" y="807444"/>
                    <a:pt x="1050152" y="837590"/>
                    <a:pt x="1016526" y="857233"/>
                  </a:cubicBezTo>
                  <a:close/>
                  <a:moveTo>
                    <a:pt x="1192800" y="80575"/>
                  </a:moveTo>
                  <a:lnTo>
                    <a:pt x="935106" y="706397"/>
                  </a:lnTo>
                  <a:cubicBezTo>
                    <a:pt x="927204" y="725876"/>
                    <a:pt x="925916" y="747426"/>
                    <a:pt x="931442" y="767713"/>
                  </a:cubicBezTo>
                  <a:lnTo>
                    <a:pt x="941619" y="806137"/>
                  </a:lnTo>
                  <a:lnTo>
                    <a:pt x="976223" y="786516"/>
                  </a:lnTo>
                  <a:cubicBezTo>
                    <a:pt x="994349" y="775869"/>
                    <a:pt x="1008612" y="759685"/>
                    <a:pt x="1016933" y="740325"/>
                  </a:cubicBezTo>
                  <a:lnTo>
                    <a:pt x="1275033" y="114502"/>
                  </a:lnTo>
                  <a:cubicBezTo>
                    <a:pt x="1263937" y="104478"/>
                    <a:pt x="1251105" y="96581"/>
                    <a:pt x="1237173" y="91203"/>
                  </a:cubicBezTo>
                  <a:cubicBezTo>
                    <a:pt x="1223154" y="84965"/>
                    <a:pt x="1208113" y="81363"/>
                    <a:pt x="1192799" y="80575"/>
                  </a:cubicBezTo>
                  <a:close/>
                </a:path>
              </a:pathLst>
            </a:custGeom>
            <a:solidFill>
              <a:srgbClr val="000000"/>
            </a:solidFill>
            <a:ln w="406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4760575" y="6180892"/>
            <a:ext cx="7721600" cy="135421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400">
                <a:latin typeface="+mn-lt"/>
              </a:defRPr>
            </a:lvl1pPr>
            <a:lvl2pPr marL="0" indent="0" algn="l" defTabSz="19081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4400">
                <a:latin typeface="+mn-lt"/>
              </a:defRPr>
            </a:lvl2pPr>
            <a:lvl3pPr>
              <a:defRPr sz="4400">
                <a:latin typeface="+mn-lt"/>
              </a:defRPr>
            </a:lvl3pPr>
            <a:lvl4pPr>
              <a:defRPr sz="4400">
                <a:latin typeface="+mn-lt"/>
              </a:defRPr>
            </a:lvl4pPr>
            <a:lvl5pPr>
              <a:defRPr sz="4400">
                <a:latin typeface="+mn-lt"/>
              </a:defRPr>
            </a:lvl5pPr>
          </a:lstStyle>
          <a:p>
            <a:r>
              <a:rPr lang="ru-RU" sz="4400" dirty="0">
                <a:ln w="0"/>
                <a:latin typeface="YS Text Light" pitchFamily="2" charset="77"/>
              </a:rPr>
              <a:t>Итоги встречи и то, что должны запомнить зрители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14760575" y="9104566"/>
            <a:ext cx="7721600" cy="135421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400">
                <a:latin typeface="+mn-lt"/>
              </a:defRPr>
            </a:lvl1pPr>
            <a:lvl2pPr marL="0" indent="0" algn="l" defTabSz="19081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4400">
                <a:latin typeface="+mn-lt"/>
              </a:defRPr>
            </a:lvl2pPr>
            <a:lvl3pPr>
              <a:defRPr sz="4400">
                <a:latin typeface="+mn-lt"/>
              </a:defRPr>
            </a:lvl3pPr>
            <a:lvl4pPr>
              <a:defRPr sz="4400">
                <a:latin typeface="+mn-lt"/>
              </a:defRPr>
            </a:lvl4pPr>
            <a:lvl5pPr>
              <a:defRPr sz="4400">
                <a:latin typeface="+mn-lt"/>
              </a:defRPr>
            </a:lvl5pPr>
          </a:lstStyle>
          <a:p>
            <a:r>
              <a:rPr lang="ru-RU" sz="4400" dirty="0">
                <a:ln w="0"/>
                <a:latin typeface="YS Text Light" pitchFamily="2" charset="77"/>
              </a:rPr>
              <a:t>Короткие тезисы</a:t>
            </a:r>
            <a:br>
              <a:rPr lang="ru-RU" sz="4400" dirty="0">
                <a:ln w="0"/>
                <a:latin typeface="YS Text Light" pitchFamily="2" charset="77"/>
              </a:rPr>
            </a:br>
            <a:r>
              <a:rPr lang="ru-RU" sz="4400" dirty="0">
                <a:ln w="0"/>
                <a:latin typeface="YS Text Light" pitchFamily="2" charset="77"/>
              </a:rPr>
              <a:t>или ценные мысли</a:t>
            </a:r>
          </a:p>
        </p:txBody>
      </p:sp>
      <p:sp>
        <p:nvSpPr>
          <p:cNvPr id="11" name="Rounded Rectangle 23"/>
          <p:cNvSpPr/>
          <p:nvPr userDrawn="1"/>
        </p:nvSpPr>
        <p:spPr>
          <a:xfrm>
            <a:off x="12191206" y="3045152"/>
            <a:ext cx="1778348" cy="1778348"/>
          </a:xfrm>
          <a:prstGeom prst="roundRect">
            <a:avLst>
              <a:gd name="adj" fmla="val 27791"/>
            </a:avLst>
          </a:prstGeom>
          <a:solidFill>
            <a:schemeClr val="bg1"/>
          </a:solidFill>
          <a:ln w="12700">
            <a:miter lim="400000"/>
          </a:ln>
        </p:spPr>
        <p:txBody>
          <a:bodyPr lIns="89999" tIns="89999" rIns="89999" bIns="89999" anchor="ctr"/>
          <a:lstStyle/>
          <a:p>
            <a:pPr algn="ctr">
              <a:lnSpc>
                <a:spcPct val="90000"/>
              </a:lnSpc>
              <a:defRPr sz="3200"/>
            </a:pPr>
            <a:endParaRPr sz="4800" dirty="0">
              <a:latin typeface="YS Text Medium" pitchFamily="2" charset="77"/>
            </a:endParaRPr>
          </a:p>
        </p:txBody>
      </p:sp>
      <p:sp>
        <p:nvSpPr>
          <p:cNvPr id="12" name="Rounded Rectangle 23"/>
          <p:cNvSpPr/>
          <p:nvPr userDrawn="1"/>
        </p:nvSpPr>
        <p:spPr>
          <a:xfrm>
            <a:off x="12191206" y="5968826"/>
            <a:ext cx="1778348" cy="1778348"/>
          </a:xfrm>
          <a:prstGeom prst="roundRect">
            <a:avLst>
              <a:gd name="adj" fmla="val 27791"/>
            </a:avLst>
          </a:prstGeom>
          <a:solidFill>
            <a:schemeClr val="bg1"/>
          </a:solidFill>
          <a:ln w="12700">
            <a:miter lim="400000"/>
          </a:ln>
        </p:spPr>
        <p:txBody>
          <a:bodyPr lIns="89999" tIns="89999" rIns="89999" bIns="89999" anchor="ctr"/>
          <a:lstStyle/>
          <a:p>
            <a:pPr algn="ctr">
              <a:lnSpc>
                <a:spcPct val="90000"/>
              </a:lnSpc>
              <a:defRPr sz="3200"/>
            </a:pPr>
            <a:endParaRPr sz="4800" dirty="0">
              <a:latin typeface="YS Text Medium" pitchFamily="2" charset="77"/>
            </a:endParaRPr>
          </a:p>
        </p:txBody>
      </p:sp>
      <p:sp>
        <p:nvSpPr>
          <p:cNvPr id="13" name="Rounded Rectangle 23"/>
          <p:cNvSpPr/>
          <p:nvPr userDrawn="1"/>
        </p:nvSpPr>
        <p:spPr>
          <a:xfrm>
            <a:off x="12191206" y="8892500"/>
            <a:ext cx="1778348" cy="1778348"/>
          </a:xfrm>
          <a:prstGeom prst="roundRect">
            <a:avLst>
              <a:gd name="adj" fmla="val 27791"/>
            </a:avLst>
          </a:prstGeom>
          <a:solidFill>
            <a:schemeClr val="bg1"/>
          </a:solidFill>
          <a:ln w="12700">
            <a:miter lim="400000"/>
          </a:ln>
        </p:spPr>
        <p:txBody>
          <a:bodyPr lIns="89999" tIns="89999" rIns="89999" bIns="89999" anchor="ctr"/>
          <a:lstStyle/>
          <a:p>
            <a:pPr algn="ctr">
              <a:lnSpc>
                <a:spcPct val="90000"/>
              </a:lnSpc>
              <a:defRPr sz="3200"/>
            </a:pPr>
            <a:endParaRPr sz="4800" dirty="0">
              <a:latin typeface="YS Text Medium" pitchFamily="2" charset="77"/>
            </a:endParaRP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6" hasCustomPrompt="1"/>
          </p:nvPr>
        </p:nvSpPr>
        <p:spPr>
          <a:xfrm>
            <a:off x="12351321" y="3426495"/>
            <a:ext cx="1458119" cy="1015663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endParaRPr lang="en-GB" dirty="0"/>
          </a:p>
        </p:txBody>
      </p:sp>
      <p:sp>
        <p:nvSpPr>
          <p:cNvPr id="16" name="Text Placeholder 42"/>
          <p:cNvSpPr>
            <a:spLocks noGrp="1"/>
          </p:cNvSpPr>
          <p:nvPr>
            <p:ph type="body" sz="quarter" idx="17" hasCustomPrompt="1"/>
          </p:nvPr>
        </p:nvSpPr>
        <p:spPr>
          <a:xfrm>
            <a:off x="12351321" y="6350169"/>
            <a:ext cx="1458119" cy="1015663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endParaRPr lang="en-GB" dirty="0"/>
          </a:p>
        </p:txBody>
      </p:sp>
      <p:sp>
        <p:nvSpPr>
          <p:cNvPr id="17" name="Text Placeholder 4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1321" y="9273843"/>
            <a:ext cx="1458119" cy="1015663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endParaRPr lang="en-GB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_5 этап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ext Placeholder 84"/>
          <p:cNvSpPr>
            <a:spLocks noGrp="1"/>
          </p:cNvSpPr>
          <p:nvPr>
            <p:ph type="body" sz="quarter" idx="51" hasCustomPrompt="1"/>
          </p:nvPr>
        </p:nvSpPr>
        <p:spPr>
          <a:xfrm>
            <a:off x="1828799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946275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732646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6048658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10497832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14720530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19060605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 userDrawn="1"/>
        </p:nvCxnSpPr>
        <p:spPr>
          <a:xfrm>
            <a:off x="1587500" y="5415554"/>
            <a:ext cx="21224875" cy="0"/>
          </a:xfrm>
          <a:prstGeom prst="straightConnector1">
            <a:avLst/>
          </a:prstGeom>
          <a:ln w="63500" cmpd="sng">
            <a:solidFill>
              <a:schemeClr val="tx1"/>
            </a:solidFill>
            <a:prstDash val="solid"/>
            <a:headEnd type="none" w="lg" len="med"/>
            <a:tailEnd type="arrow" w="med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Picture Placeholder 11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131090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47" name="Rounded Rectangle 46"/>
          <p:cNvSpPr/>
          <p:nvPr userDrawn="1"/>
        </p:nvSpPr>
        <p:spPr>
          <a:xfrm>
            <a:off x="6168973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48" name="Picture Placeholder 11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53788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49" name="Rounded Rectangle 48"/>
          <p:cNvSpPr/>
          <p:nvPr userDrawn="1"/>
        </p:nvSpPr>
        <p:spPr>
          <a:xfrm>
            <a:off x="14840845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50" name="Picture Placeholder 11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15025660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1" name="Rounded Rectangle 50"/>
          <p:cNvSpPr/>
          <p:nvPr userDrawn="1"/>
        </p:nvSpPr>
        <p:spPr>
          <a:xfrm>
            <a:off x="19180920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52" name="Picture Placeholder 11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9365735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3" name="Rounded Rectangle 52"/>
          <p:cNvSpPr/>
          <p:nvPr userDrawn="1"/>
        </p:nvSpPr>
        <p:spPr>
          <a:xfrm>
            <a:off x="10597540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54" name="Picture Placeholder 11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0782355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87" name="Text Placeholder 84"/>
          <p:cNvSpPr>
            <a:spLocks noGrp="1"/>
          </p:cNvSpPr>
          <p:nvPr>
            <p:ph type="body" sz="quarter" idx="52" hasCustomPrompt="1"/>
          </p:nvPr>
        </p:nvSpPr>
        <p:spPr>
          <a:xfrm>
            <a:off x="6177251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88" name="Text Placeholder 84"/>
          <p:cNvSpPr>
            <a:spLocks noGrp="1"/>
          </p:cNvSpPr>
          <p:nvPr>
            <p:ph type="body" sz="quarter" idx="53" hasCustomPrompt="1"/>
          </p:nvPr>
        </p:nvSpPr>
        <p:spPr>
          <a:xfrm>
            <a:off x="10666170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89" name="Text Placeholder 84"/>
          <p:cNvSpPr>
            <a:spLocks noGrp="1"/>
          </p:cNvSpPr>
          <p:nvPr>
            <p:ph type="body" sz="quarter" idx="54" hasCustomPrompt="1"/>
          </p:nvPr>
        </p:nvSpPr>
        <p:spPr>
          <a:xfrm>
            <a:off x="14849123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90" name="Text Placeholder 84"/>
          <p:cNvSpPr>
            <a:spLocks noGrp="1"/>
          </p:cNvSpPr>
          <p:nvPr>
            <p:ph type="body" sz="quarter" idx="55" hasCustomPrompt="1"/>
          </p:nvPr>
        </p:nvSpPr>
        <p:spPr>
          <a:xfrm>
            <a:off x="19189198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828799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6177251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0666170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4849123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60"/>
          </p:nvPr>
        </p:nvSpPr>
        <p:spPr>
          <a:xfrm>
            <a:off x="19189198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_4 этап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ext Placeholder 84"/>
          <p:cNvSpPr>
            <a:spLocks noGrp="1"/>
          </p:cNvSpPr>
          <p:nvPr>
            <p:ph type="body" sz="quarter" idx="51" hasCustomPrompt="1"/>
          </p:nvPr>
        </p:nvSpPr>
        <p:spPr>
          <a:xfrm>
            <a:off x="1828799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946275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732646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7508632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13284618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19060605" y="5415554"/>
            <a:ext cx="0" cy="423747"/>
          </a:xfrm>
          <a:prstGeom prst="line">
            <a:avLst/>
          </a:prstGeom>
          <a:ln w="31750" cmpd="sng">
            <a:solidFill>
              <a:schemeClr val="bg1">
                <a:lumMod val="6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 userDrawn="1"/>
        </p:nvCxnSpPr>
        <p:spPr>
          <a:xfrm>
            <a:off x="1587500" y="5415554"/>
            <a:ext cx="21224875" cy="0"/>
          </a:xfrm>
          <a:prstGeom prst="straightConnector1">
            <a:avLst/>
          </a:prstGeom>
          <a:ln w="63500" cmpd="sng">
            <a:solidFill>
              <a:schemeClr val="tx1"/>
            </a:solidFill>
            <a:prstDash val="solid"/>
            <a:headEnd type="none" w="lg" len="med"/>
            <a:tailEnd type="arrow" w="med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Picture Placeholder 11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131090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47" name="Rounded Rectangle 46"/>
          <p:cNvSpPr/>
          <p:nvPr userDrawn="1"/>
        </p:nvSpPr>
        <p:spPr>
          <a:xfrm>
            <a:off x="7615599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48" name="Picture Placeholder 11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7800414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1" name="Rounded Rectangle 50"/>
          <p:cNvSpPr/>
          <p:nvPr userDrawn="1"/>
        </p:nvSpPr>
        <p:spPr>
          <a:xfrm>
            <a:off x="19180920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52" name="Picture Placeholder 11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9365735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3" name="Rounded Rectangle 52"/>
          <p:cNvSpPr/>
          <p:nvPr userDrawn="1"/>
        </p:nvSpPr>
        <p:spPr>
          <a:xfrm>
            <a:off x="13402399" y="3822700"/>
            <a:ext cx="1176031" cy="1176031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000">
              <a:ln w="0"/>
              <a:solidFill>
                <a:schemeClr val="tx1"/>
              </a:solidFill>
            </a:endParaRPr>
          </a:p>
        </p:txBody>
      </p:sp>
      <p:sp>
        <p:nvSpPr>
          <p:cNvPr id="54" name="Picture Placeholder 11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3587214" y="4007515"/>
            <a:ext cx="806400" cy="806400"/>
          </a:xfrm>
          <a:prstGeom prst="rect">
            <a:avLst/>
          </a:prstGeo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87" name="Text Placeholder 84"/>
          <p:cNvSpPr>
            <a:spLocks noGrp="1"/>
          </p:cNvSpPr>
          <p:nvPr>
            <p:ph type="body" sz="quarter" idx="52" hasCustomPrompt="1"/>
          </p:nvPr>
        </p:nvSpPr>
        <p:spPr>
          <a:xfrm>
            <a:off x="7615599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88" name="Text Placeholder 84"/>
          <p:cNvSpPr>
            <a:spLocks noGrp="1"/>
          </p:cNvSpPr>
          <p:nvPr>
            <p:ph type="body" sz="quarter" idx="53" hasCustomPrompt="1"/>
          </p:nvPr>
        </p:nvSpPr>
        <p:spPr>
          <a:xfrm>
            <a:off x="13402399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90" name="Text Placeholder 84"/>
          <p:cNvSpPr>
            <a:spLocks noGrp="1"/>
          </p:cNvSpPr>
          <p:nvPr>
            <p:ph type="body" sz="quarter" idx="55" hasCustomPrompt="1"/>
          </p:nvPr>
        </p:nvSpPr>
        <p:spPr>
          <a:xfrm>
            <a:off x="19189198" y="5942013"/>
            <a:ext cx="3641725" cy="455612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2pPr>
            <a:lvl3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3pPr>
            <a:lvl4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4pPr>
            <a:lvl5pPr>
              <a:defRPr sz="2400">
                <a:solidFill>
                  <a:schemeClr val="bg1">
                    <a:lumMod val="6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Step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828799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7615599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3402399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60"/>
          </p:nvPr>
        </p:nvSpPr>
        <p:spPr>
          <a:xfrm>
            <a:off x="19189198" y="6746558"/>
            <a:ext cx="3641725" cy="5021263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28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 с выносками_5 этап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form 37"/>
          <p:cNvSpPr/>
          <p:nvPr userDrawn="1"/>
        </p:nvSpPr>
        <p:spPr>
          <a:xfrm rot="2700000">
            <a:off x="1161309" y="2683504"/>
            <a:ext cx="4504706" cy="4504706"/>
          </a:xfrm>
          <a:custGeom>
            <a:avLst/>
            <a:gdLst>
              <a:gd name="connsiteX0" fmla="*/ 148437 w 4504706"/>
              <a:gd name="connsiteY0" fmla="*/ 2018035 h 4504706"/>
              <a:gd name="connsiteX1" fmla="*/ 2018035 w 4504706"/>
              <a:gd name="connsiteY1" fmla="*/ 148437 h 4504706"/>
              <a:gd name="connsiteX2" fmla="*/ 2734750 w 4504706"/>
              <a:gd name="connsiteY2" fmla="*/ 148437 h 4504706"/>
              <a:gd name="connsiteX3" fmla="*/ 4356269 w 4504706"/>
              <a:gd name="connsiteY3" fmla="*/ 1769956 h 4504706"/>
              <a:gd name="connsiteX4" fmla="*/ 4356269 w 4504706"/>
              <a:gd name="connsiteY4" fmla="*/ 2486671 h 4504706"/>
              <a:gd name="connsiteX5" fmla="*/ 3669171 w 4504706"/>
              <a:gd name="connsiteY5" fmla="*/ 3173769 h 4504706"/>
              <a:gd name="connsiteX6" fmla="*/ 3669171 w 4504706"/>
              <a:gd name="connsiteY6" fmla="*/ 3573037 h 4504706"/>
              <a:gd name="connsiteX7" fmla="*/ 3627040 w 4504706"/>
              <a:gd name="connsiteY7" fmla="*/ 3615168 h 4504706"/>
              <a:gd name="connsiteX8" fmla="*/ 3227772 w 4504706"/>
              <a:gd name="connsiteY8" fmla="*/ 3615168 h 4504706"/>
              <a:gd name="connsiteX9" fmla="*/ 2486671 w 4504706"/>
              <a:gd name="connsiteY9" fmla="*/ 4356269 h 4504706"/>
              <a:gd name="connsiteX10" fmla="*/ 1769956 w 4504706"/>
              <a:gd name="connsiteY10" fmla="*/ 4356269 h 4504706"/>
              <a:gd name="connsiteX11" fmla="*/ 148437 w 4504706"/>
              <a:gd name="connsiteY11" fmla="*/ 2734750 h 4504706"/>
              <a:gd name="connsiteX12" fmla="*/ 148437 w 4504706"/>
              <a:gd name="connsiteY12" fmla="*/ 2018035 h 450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04706" h="4504706">
                <a:moveTo>
                  <a:pt x="148437" y="2018035"/>
                </a:moveTo>
                <a:lnTo>
                  <a:pt x="2018035" y="148437"/>
                </a:lnTo>
                <a:cubicBezTo>
                  <a:pt x="2215951" y="-49479"/>
                  <a:pt x="2536835" y="-49479"/>
                  <a:pt x="2734750" y="148437"/>
                </a:cubicBezTo>
                <a:lnTo>
                  <a:pt x="4356269" y="1769956"/>
                </a:lnTo>
                <a:cubicBezTo>
                  <a:pt x="4554185" y="1967871"/>
                  <a:pt x="4554185" y="2288755"/>
                  <a:pt x="4356269" y="2486671"/>
                </a:cubicBezTo>
                <a:lnTo>
                  <a:pt x="3669171" y="3173769"/>
                </a:lnTo>
                <a:lnTo>
                  <a:pt x="3669171" y="3573037"/>
                </a:lnTo>
                <a:cubicBezTo>
                  <a:pt x="3669171" y="3596305"/>
                  <a:pt x="3650308" y="3615168"/>
                  <a:pt x="3627040" y="3615168"/>
                </a:cubicBezTo>
                <a:lnTo>
                  <a:pt x="3227772" y="3615168"/>
                </a:lnTo>
                <a:lnTo>
                  <a:pt x="2486671" y="4356269"/>
                </a:lnTo>
                <a:cubicBezTo>
                  <a:pt x="2288755" y="4554185"/>
                  <a:pt x="1967871" y="4554185"/>
                  <a:pt x="1769956" y="4356269"/>
                </a:cubicBezTo>
                <a:lnTo>
                  <a:pt x="148437" y="2734750"/>
                </a:lnTo>
                <a:cubicBezTo>
                  <a:pt x="-49479" y="2536835"/>
                  <a:pt x="-49479" y="2215951"/>
                  <a:pt x="148437" y="2018035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86" name="Picture Placeholder 11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686462" y="8628769"/>
            <a:ext cx="1454400" cy="1454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Rounded Rectangle 38"/>
          <p:cNvSpPr/>
          <p:nvPr userDrawn="1"/>
        </p:nvSpPr>
        <p:spPr>
          <a:xfrm>
            <a:off x="1579563" y="7397961"/>
            <a:ext cx="3668199" cy="89196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1800" spc="6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41" name="Rounded Rectangle 40"/>
          <p:cNvSpPr/>
          <p:nvPr userDrawn="1"/>
        </p:nvSpPr>
        <p:spPr>
          <a:xfrm>
            <a:off x="1907359" y="2749703"/>
            <a:ext cx="1232579" cy="1232579"/>
          </a:xfrm>
          <a:prstGeom prst="roundRect">
            <a:avLst>
              <a:gd name="adj" fmla="val 31677"/>
            </a:avLst>
          </a:prstGeom>
          <a:noFill/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ru-RU" sz="4800" dirty="0">
                <a:ln w="0"/>
                <a:solidFill>
                  <a:schemeClr val="tx1"/>
                </a:solidFill>
                <a:latin typeface="YS Text Medium" pitchFamily="2" charset="77"/>
              </a:rPr>
              <a:t>01</a:t>
            </a:r>
            <a:endParaRPr lang="en-US" sz="48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42" name="Freeform 41"/>
          <p:cNvSpPr/>
          <p:nvPr userDrawn="1"/>
        </p:nvSpPr>
        <p:spPr>
          <a:xfrm rot="2700000">
            <a:off x="18780236" y="2683504"/>
            <a:ext cx="4504706" cy="4504706"/>
          </a:xfrm>
          <a:custGeom>
            <a:avLst/>
            <a:gdLst>
              <a:gd name="connsiteX0" fmla="*/ 148437 w 4504706"/>
              <a:gd name="connsiteY0" fmla="*/ 2018035 h 4504706"/>
              <a:gd name="connsiteX1" fmla="*/ 2018035 w 4504706"/>
              <a:gd name="connsiteY1" fmla="*/ 148437 h 4504706"/>
              <a:gd name="connsiteX2" fmla="*/ 2734750 w 4504706"/>
              <a:gd name="connsiteY2" fmla="*/ 148437 h 4504706"/>
              <a:gd name="connsiteX3" fmla="*/ 4356269 w 4504706"/>
              <a:gd name="connsiteY3" fmla="*/ 1769956 h 4504706"/>
              <a:gd name="connsiteX4" fmla="*/ 4356269 w 4504706"/>
              <a:gd name="connsiteY4" fmla="*/ 2486671 h 4504706"/>
              <a:gd name="connsiteX5" fmla="*/ 3669171 w 4504706"/>
              <a:gd name="connsiteY5" fmla="*/ 3173769 h 4504706"/>
              <a:gd name="connsiteX6" fmla="*/ 3669171 w 4504706"/>
              <a:gd name="connsiteY6" fmla="*/ 3573037 h 4504706"/>
              <a:gd name="connsiteX7" fmla="*/ 3627040 w 4504706"/>
              <a:gd name="connsiteY7" fmla="*/ 3615168 h 4504706"/>
              <a:gd name="connsiteX8" fmla="*/ 3227772 w 4504706"/>
              <a:gd name="connsiteY8" fmla="*/ 3615168 h 4504706"/>
              <a:gd name="connsiteX9" fmla="*/ 2486671 w 4504706"/>
              <a:gd name="connsiteY9" fmla="*/ 4356269 h 4504706"/>
              <a:gd name="connsiteX10" fmla="*/ 1769956 w 4504706"/>
              <a:gd name="connsiteY10" fmla="*/ 4356269 h 4504706"/>
              <a:gd name="connsiteX11" fmla="*/ 148437 w 4504706"/>
              <a:gd name="connsiteY11" fmla="*/ 2734750 h 4504706"/>
              <a:gd name="connsiteX12" fmla="*/ 148437 w 4504706"/>
              <a:gd name="connsiteY12" fmla="*/ 2018035 h 450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04706" h="4504706">
                <a:moveTo>
                  <a:pt x="148437" y="2018035"/>
                </a:moveTo>
                <a:lnTo>
                  <a:pt x="2018035" y="148437"/>
                </a:lnTo>
                <a:cubicBezTo>
                  <a:pt x="2215951" y="-49479"/>
                  <a:pt x="2536835" y="-49479"/>
                  <a:pt x="2734750" y="148437"/>
                </a:cubicBezTo>
                <a:lnTo>
                  <a:pt x="4356269" y="1769956"/>
                </a:lnTo>
                <a:cubicBezTo>
                  <a:pt x="4554185" y="1967871"/>
                  <a:pt x="4554185" y="2288755"/>
                  <a:pt x="4356269" y="2486671"/>
                </a:cubicBezTo>
                <a:lnTo>
                  <a:pt x="3669171" y="3173769"/>
                </a:lnTo>
                <a:lnTo>
                  <a:pt x="3669171" y="3573037"/>
                </a:lnTo>
                <a:cubicBezTo>
                  <a:pt x="3669171" y="3596305"/>
                  <a:pt x="3650308" y="3615168"/>
                  <a:pt x="3627040" y="3615168"/>
                </a:cubicBezTo>
                <a:lnTo>
                  <a:pt x="3227772" y="3615168"/>
                </a:lnTo>
                <a:lnTo>
                  <a:pt x="2486671" y="4356269"/>
                </a:lnTo>
                <a:cubicBezTo>
                  <a:pt x="2288755" y="4554185"/>
                  <a:pt x="1967871" y="4554185"/>
                  <a:pt x="1769956" y="4356269"/>
                </a:cubicBezTo>
                <a:lnTo>
                  <a:pt x="148437" y="2734750"/>
                </a:lnTo>
                <a:cubicBezTo>
                  <a:pt x="-49479" y="2536835"/>
                  <a:pt x="-49479" y="2215951"/>
                  <a:pt x="148437" y="2018035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45" name="Rounded Rectangle 44"/>
          <p:cNvSpPr/>
          <p:nvPr userDrawn="1"/>
        </p:nvSpPr>
        <p:spPr>
          <a:xfrm>
            <a:off x="19198490" y="7397961"/>
            <a:ext cx="3668199" cy="89196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1800" spc="6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56" name="Rounded Rectangle 55"/>
          <p:cNvSpPr/>
          <p:nvPr userDrawn="1"/>
        </p:nvSpPr>
        <p:spPr>
          <a:xfrm>
            <a:off x="19526286" y="2749703"/>
            <a:ext cx="1232579" cy="1232579"/>
          </a:xfrm>
          <a:prstGeom prst="roundRect">
            <a:avLst>
              <a:gd name="adj" fmla="val 31677"/>
            </a:avLst>
          </a:prstGeom>
          <a:noFill/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ru-RU" sz="4800">
                <a:ln w="0"/>
                <a:solidFill>
                  <a:schemeClr val="tx1"/>
                </a:solidFill>
                <a:latin typeface="YS Text Medium" pitchFamily="2" charset="77"/>
              </a:rPr>
              <a:t>05</a:t>
            </a:r>
            <a:endParaRPr lang="en-US" sz="480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57" name="Freeform 56"/>
          <p:cNvSpPr/>
          <p:nvPr userDrawn="1"/>
        </p:nvSpPr>
        <p:spPr>
          <a:xfrm rot="2700000">
            <a:off x="9970773" y="2683504"/>
            <a:ext cx="4504706" cy="4504706"/>
          </a:xfrm>
          <a:custGeom>
            <a:avLst/>
            <a:gdLst>
              <a:gd name="connsiteX0" fmla="*/ 148437 w 4504706"/>
              <a:gd name="connsiteY0" fmla="*/ 2018035 h 4504706"/>
              <a:gd name="connsiteX1" fmla="*/ 2018035 w 4504706"/>
              <a:gd name="connsiteY1" fmla="*/ 148437 h 4504706"/>
              <a:gd name="connsiteX2" fmla="*/ 2734750 w 4504706"/>
              <a:gd name="connsiteY2" fmla="*/ 148437 h 4504706"/>
              <a:gd name="connsiteX3" fmla="*/ 4356269 w 4504706"/>
              <a:gd name="connsiteY3" fmla="*/ 1769956 h 4504706"/>
              <a:gd name="connsiteX4" fmla="*/ 4356269 w 4504706"/>
              <a:gd name="connsiteY4" fmla="*/ 2486671 h 4504706"/>
              <a:gd name="connsiteX5" fmla="*/ 3669171 w 4504706"/>
              <a:gd name="connsiteY5" fmla="*/ 3173769 h 4504706"/>
              <a:gd name="connsiteX6" fmla="*/ 3669171 w 4504706"/>
              <a:gd name="connsiteY6" fmla="*/ 3573037 h 4504706"/>
              <a:gd name="connsiteX7" fmla="*/ 3627040 w 4504706"/>
              <a:gd name="connsiteY7" fmla="*/ 3615168 h 4504706"/>
              <a:gd name="connsiteX8" fmla="*/ 3227772 w 4504706"/>
              <a:gd name="connsiteY8" fmla="*/ 3615168 h 4504706"/>
              <a:gd name="connsiteX9" fmla="*/ 2486671 w 4504706"/>
              <a:gd name="connsiteY9" fmla="*/ 4356269 h 4504706"/>
              <a:gd name="connsiteX10" fmla="*/ 1769956 w 4504706"/>
              <a:gd name="connsiteY10" fmla="*/ 4356269 h 4504706"/>
              <a:gd name="connsiteX11" fmla="*/ 148437 w 4504706"/>
              <a:gd name="connsiteY11" fmla="*/ 2734750 h 4504706"/>
              <a:gd name="connsiteX12" fmla="*/ 148437 w 4504706"/>
              <a:gd name="connsiteY12" fmla="*/ 2018035 h 450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04706" h="4504706">
                <a:moveTo>
                  <a:pt x="148437" y="2018035"/>
                </a:moveTo>
                <a:lnTo>
                  <a:pt x="2018035" y="148437"/>
                </a:lnTo>
                <a:cubicBezTo>
                  <a:pt x="2215951" y="-49479"/>
                  <a:pt x="2536835" y="-49479"/>
                  <a:pt x="2734750" y="148437"/>
                </a:cubicBezTo>
                <a:lnTo>
                  <a:pt x="4356269" y="1769956"/>
                </a:lnTo>
                <a:cubicBezTo>
                  <a:pt x="4554185" y="1967871"/>
                  <a:pt x="4554185" y="2288755"/>
                  <a:pt x="4356269" y="2486671"/>
                </a:cubicBezTo>
                <a:lnTo>
                  <a:pt x="3669171" y="3173769"/>
                </a:lnTo>
                <a:lnTo>
                  <a:pt x="3669171" y="3573037"/>
                </a:lnTo>
                <a:cubicBezTo>
                  <a:pt x="3669171" y="3596305"/>
                  <a:pt x="3650308" y="3615168"/>
                  <a:pt x="3627040" y="3615168"/>
                </a:cubicBezTo>
                <a:lnTo>
                  <a:pt x="3227772" y="3615168"/>
                </a:lnTo>
                <a:lnTo>
                  <a:pt x="2486671" y="4356269"/>
                </a:lnTo>
                <a:cubicBezTo>
                  <a:pt x="2288755" y="4554185"/>
                  <a:pt x="1967871" y="4554185"/>
                  <a:pt x="1769956" y="4356269"/>
                </a:cubicBezTo>
                <a:lnTo>
                  <a:pt x="148437" y="2734750"/>
                </a:lnTo>
                <a:cubicBezTo>
                  <a:pt x="-49479" y="2536835"/>
                  <a:pt x="-49479" y="2215951"/>
                  <a:pt x="148437" y="2018035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58" name="Rounded Rectangle 57"/>
          <p:cNvSpPr/>
          <p:nvPr userDrawn="1"/>
        </p:nvSpPr>
        <p:spPr>
          <a:xfrm>
            <a:off x="10389027" y="7397961"/>
            <a:ext cx="3668199" cy="89196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1800" spc="6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60" name="Rounded Rectangle 59"/>
          <p:cNvSpPr/>
          <p:nvPr userDrawn="1"/>
        </p:nvSpPr>
        <p:spPr>
          <a:xfrm>
            <a:off x="10716823" y="2749703"/>
            <a:ext cx="1232579" cy="1232579"/>
          </a:xfrm>
          <a:prstGeom prst="roundRect">
            <a:avLst>
              <a:gd name="adj" fmla="val 31677"/>
            </a:avLst>
          </a:prstGeom>
          <a:noFill/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ru-RU" sz="4800" dirty="0">
                <a:ln w="0"/>
                <a:solidFill>
                  <a:schemeClr val="tx1"/>
                </a:solidFill>
                <a:latin typeface="YS Text Medium" pitchFamily="2" charset="77"/>
              </a:rPr>
              <a:t>03</a:t>
            </a:r>
            <a:endParaRPr lang="en-US" sz="48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61" name="Freeform 60"/>
          <p:cNvSpPr/>
          <p:nvPr userDrawn="1"/>
        </p:nvSpPr>
        <p:spPr>
          <a:xfrm rot="13500000">
            <a:off x="5566041" y="8520741"/>
            <a:ext cx="4504706" cy="4504706"/>
          </a:xfrm>
          <a:custGeom>
            <a:avLst/>
            <a:gdLst>
              <a:gd name="connsiteX0" fmla="*/ 148437 w 4504706"/>
              <a:gd name="connsiteY0" fmla="*/ 2018035 h 4504706"/>
              <a:gd name="connsiteX1" fmla="*/ 2018035 w 4504706"/>
              <a:gd name="connsiteY1" fmla="*/ 148437 h 4504706"/>
              <a:gd name="connsiteX2" fmla="*/ 2734750 w 4504706"/>
              <a:gd name="connsiteY2" fmla="*/ 148437 h 4504706"/>
              <a:gd name="connsiteX3" fmla="*/ 4356269 w 4504706"/>
              <a:gd name="connsiteY3" fmla="*/ 1769956 h 4504706"/>
              <a:gd name="connsiteX4" fmla="*/ 4356269 w 4504706"/>
              <a:gd name="connsiteY4" fmla="*/ 2486671 h 4504706"/>
              <a:gd name="connsiteX5" fmla="*/ 3669171 w 4504706"/>
              <a:gd name="connsiteY5" fmla="*/ 3173769 h 4504706"/>
              <a:gd name="connsiteX6" fmla="*/ 3669171 w 4504706"/>
              <a:gd name="connsiteY6" fmla="*/ 3573037 h 4504706"/>
              <a:gd name="connsiteX7" fmla="*/ 3627040 w 4504706"/>
              <a:gd name="connsiteY7" fmla="*/ 3615168 h 4504706"/>
              <a:gd name="connsiteX8" fmla="*/ 3227772 w 4504706"/>
              <a:gd name="connsiteY8" fmla="*/ 3615168 h 4504706"/>
              <a:gd name="connsiteX9" fmla="*/ 2486671 w 4504706"/>
              <a:gd name="connsiteY9" fmla="*/ 4356269 h 4504706"/>
              <a:gd name="connsiteX10" fmla="*/ 1769956 w 4504706"/>
              <a:gd name="connsiteY10" fmla="*/ 4356269 h 4504706"/>
              <a:gd name="connsiteX11" fmla="*/ 148437 w 4504706"/>
              <a:gd name="connsiteY11" fmla="*/ 2734750 h 4504706"/>
              <a:gd name="connsiteX12" fmla="*/ 148437 w 4504706"/>
              <a:gd name="connsiteY12" fmla="*/ 2018035 h 450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04706" h="4504706">
                <a:moveTo>
                  <a:pt x="148437" y="2018035"/>
                </a:moveTo>
                <a:lnTo>
                  <a:pt x="2018035" y="148437"/>
                </a:lnTo>
                <a:cubicBezTo>
                  <a:pt x="2215951" y="-49479"/>
                  <a:pt x="2536835" y="-49479"/>
                  <a:pt x="2734750" y="148437"/>
                </a:cubicBezTo>
                <a:lnTo>
                  <a:pt x="4356269" y="1769956"/>
                </a:lnTo>
                <a:cubicBezTo>
                  <a:pt x="4554185" y="1967871"/>
                  <a:pt x="4554185" y="2288755"/>
                  <a:pt x="4356269" y="2486671"/>
                </a:cubicBezTo>
                <a:lnTo>
                  <a:pt x="3669171" y="3173769"/>
                </a:lnTo>
                <a:lnTo>
                  <a:pt x="3669171" y="3573037"/>
                </a:lnTo>
                <a:cubicBezTo>
                  <a:pt x="3669171" y="3596305"/>
                  <a:pt x="3650308" y="3615168"/>
                  <a:pt x="3627040" y="3615168"/>
                </a:cubicBezTo>
                <a:lnTo>
                  <a:pt x="3227772" y="3615168"/>
                </a:lnTo>
                <a:lnTo>
                  <a:pt x="2486671" y="4356269"/>
                </a:lnTo>
                <a:cubicBezTo>
                  <a:pt x="2288755" y="4554185"/>
                  <a:pt x="1967871" y="4554185"/>
                  <a:pt x="1769956" y="4356269"/>
                </a:cubicBezTo>
                <a:lnTo>
                  <a:pt x="148437" y="2734750"/>
                </a:lnTo>
                <a:cubicBezTo>
                  <a:pt x="-49479" y="2536835"/>
                  <a:pt x="-49479" y="2215951"/>
                  <a:pt x="148437" y="2018035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2" name="Rounded Rectangle 61"/>
          <p:cNvSpPr/>
          <p:nvPr userDrawn="1"/>
        </p:nvSpPr>
        <p:spPr>
          <a:xfrm>
            <a:off x="5984295" y="7397961"/>
            <a:ext cx="3668199" cy="89196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1800" spc="6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64" name="Rounded Rectangle 63"/>
          <p:cNvSpPr/>
          <p:nvPr userDrawn="1"/>
        </p:nvSpPr>
        <p:spPr>
          <a:xfrm>
            <a:off x="6312091" y="8586940"/>
            <a:ext cx="1232579" cy="1232579"/>
          </a:xfrm>
          <a:prstGeom prst="roundRect">
            <a:avLst>
              <a:gd name="adj" fmla="val 31677"/>
            </a:avLst>
          </a:prstGeom>
          <a:noFill/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ru-RU" sz="4800">
                <a:ln w="0"/>
                <a:solidFill>
                  <a:schemeClr val="tx1"/>
                </a:solidFill>
                <a:latin typeface="YS Text Medium" pitchFamily="2" charset="77"/>
              </a:rPr>
              <a:t>02</a:t>
            </a:r>
            <a:endParaRPr lang="en-US" sz="480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65" name="Freeform 64"/>
          <p:cNvSpPr/>
          <p:nvPr userDrawn="1"/>
        </p:nvSpPr>
        <p:spPr>
          <a:xfrm rot="13500000">
            <a:off x="14375505" y="8520741"/>
            <a:ext cx="4504706" cy="4504706"/>
          </a:xfrm>
          <a:custGeom>
            <a:avLst/>
            <a:gdLst>
              <a:gd name="connsiteX0" fmla="*/ 148437 w 4504706"/>
              <a:gd name="connsiteY0" fmla="*/ 2018035 h 4504706"/>
              <a:gd name="connsiteX1" fmla="*/ 2018035 w 4504706"/>
              <a:gd name="connsiteY1" fmla="*/ 148437 h 4504706"/>
              <a:gd name="connsiteX2" fmla="*/ 2734750 w 4504706"/>
              <a:gd name="connsiteY2" fmla="*/ 148437 h 4504706"/>
              <a:gd name="connsiteX3" fmla="*/ 4356269 w 4504706"/>
              <a:gd name="connsiteY3" fmla="*/ 1769956 h 4504706"/>
              <a:gd name="connsiteX4" fmla="*/ 4356269 w 4504706"/>
              <a:gd name="connsiteY4" fmla="*/ 2486671 h 4504706"/>
              <a:gd name="connsiteX5" fmla="*/ 3669171 w 4504706"/>
              <a:gd name="connsiteY5" fmla="*/ 3173769 h 4504706"/>
              <a:gd name="connsiteX6" fmla="*/ 3669171 w 4504706"/>
              <a:gd name="connsiteY6" fmla="*/ 3573037 h 4504706"/>
              <a:gd name="connsiteX7" fmla="*/ 3627040 w 4504706"/>
              <a:gd name="connsiteY7" fmla="*/ 3615168 h 4504706"/>
              <a:gd name="connsiteX8" fmla="*/ 3227772 w 4504706"/>
              <a:gd name="connsiteY8" fmla="*/ 3615168 h 4504706"/>
              <a:gd name="connsiteX9" fmla="*/ 2486671 w 4504706"/>
              <a:gd name="connsiteY9" fmla="*/ 4356269 h 4504706"/>
              <a:gd name="connsiteX10" fmla="*/ 1769956 w 4504706"/>
              <a:gd name="connsiteY10" fmla="*/ 4356269 h 4504706"/>
              <a:gd name="connsiteX11" fmla="*/ 148437 w 4504706"/>
              <a:gd name="connsiteY11" fmla="*/ 2734750 h 4504706"/>
              <a:gd name="connsiteX12" fmla="*/ 148437 w 4504706"/>
              <a:gd name="connsiteY12" fmla="*/ 2018035 h 450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04706" h="4504706">
                <a:moveTo>
                  <a:pt x="148437" y="2018035"/>
                </a:moveTo>
                <a:lnTo>
                  <a:pt x="2018035" y="148437"/>
                </a:lnTo>
                <a:cubicBezTo>
                  <a:pt x="2215951" y="-49479"/>
                  <a:pt x="2536835" y="-49479"/>
                  <a:pt x="2734750" y="148437"/>
                </a:cubicBezTo>
                <a:lnTo>
                  <a:pt x="4356269" y="1769956"/>
                </a:lnTo>
                <a:cubicBezTo>
                  <a:pt x="4554185" y="1967871"/>
                  <a:pt x="4554185" y="2288755"/>
                  <a:pt x="4356269" y="2486671"/>
                </a:cubicBezTo>
                <a:lnTo>
                  <a:pt x="3669171" y="3173769"/>
                </a:lnTo>
                <a:lnTo>
                  <a:pt x="3669171" y="3573037"/>
                </a:lnTo>
                <a:cubicBezTo>
                  <a:pt x="3669171" y="3596305"/>
                  <a:pt x="3650308" y="3615168"/>
                  <a:pt x="3627040" y="3615168"/>
                </a:cubicBezTo>
                <a:lnTo>
                  <a:pt x="3227772" y="3615168"/>
                </a:lnTo>
                <a:lnTo>
                  <a:pt x="2486671" y="4356269"/>
                </a:lnTo>
                <a:cubicBezTo>
                  <a:pt x="2288755" y="4554185"/>
                  <a:pt x="1967871" y="4554185"/>
                  <a:pt x="1769956" y="4356269"/>
                </a:cubicBezTo>
                <a:lnTo>
                  <a:pt x="148437" y="2734750"/>
                </a:lnTo>
                <a:cubicBezTo>
                  <a:pt x="-49479" y="2536835"/>
                  <a:pt x="-49479" y="2215951"/>
                  <a:pt x="148437" y="2018035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6" name="Rounded Rectangle 65"/>
          <p:cNvSpPr/>
          <p:nvPr userDrawn="1"/>
        </p:nvSpPr>
        <p:spPr>
          <a:xfrm>
            <a:off x="14793759" y="7397961"/>
            <a:ext cx="3668199" cy="89196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1800" spc="600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68" name="Rounded Rectangle 67"/>
          <p:cNvSpPr/>
          <p:nvPr userDrawn="1"/>
        </p:nvSpPr>
        <p:spPr>
          <a:xfrm>
            <a:off x="15121555" y="8586940"/>
            <a:ext cx="1232579" cy="1232579"/>
          </a:xfrm>
          <a:prstGeom prst="roundRect">
            <a:avLst>
              <a:gd name="adj" fmla="val 31677"/>
            </a:avLst>
          </a:prstGeom>
          <a:noFill/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ru-RU" sz="4800">
                <a:ln w="0"/>
                <a:solidFill>
                  <a:schemeClr val="tx1"/>
                </a:solidFill>
                <a:latin typeface="YS Text Medium" pitchFamily="2" charset="77"/>
              </a:rPr>
              <a:t>04</a:t>
            </a:r>
            <a:endParaRPr lang="en-US" sz="480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25577074" y="1306285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342900" indent="-342900" algn="l">
              <a:buFont typeface="Arial" panose="02080604020202020204" pitchFamily="34" charset="0"/>
              <a:buChar char="•"/>
            </a:pPr>
            <a:endParaRPr lang="en-GB" sz="2400" dirty="0" err="1"/>
          </a:p>
        </p:txBody>
      </p:sp>
      <p:sp>
        <p:nvSpPr>
          <p:cNvPr id="91" name="Picture Placeholder 11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1547433" y="8817955"/>
            <a:ext cx="1454400" cy="1454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92" name="Picture Placeholder 11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0305389" y="8628769"/>
            <a:ext cx="1454400" cy="1454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93" name="Picture Placeholder 11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7091193" y="5603927"/>
            <a:ext cx="1454400" cy="1454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94" name="Picture Placeholder 11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5900658" y="5603927"/>
            <a:ext cx="1454400" cy="1454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907358" y="7623120"/>
            <a:ext cx="3025822" cy="44164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1pPr>
            <a:lvl2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2pPr>
            <a:lvl3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3pPr>
            <a:lvl4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4pPr>
            <a:lvl5pPr marL="0" algn="ctr" defTabSz="1828800" rtl="0" eaLnBrk="1" latinLnBrk="0" hangingPunct="1">
              <a:lnSpc>
                <a:spcPct val="90000"/>
              </a:lnSpc>
              <a:defRPr lang="en-GB" sz="1800" kern="1200" spc="600" dirty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6333184" y="7623120"/>
            <a:ext cx="3025822" cy="44164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1pPr>
            <a:lvl2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2pPr>
            <a:lvl3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3pPr>
            <a:lvl4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4pPr>
            <a:lvl5pPr marL="0" algn="ctr" defTabSz="1828800" rtl="0" eaLnBrk="1" latinLnBrk="0" hangingPunct="1">
              <a:lnSpc>
                <a:spcPct val="90000"/>
              </a:lnSpc>
              <a:defRPr lang="en-GB" sz="1800" kern="1200" spc="600" dirty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10710215" y="7623120"/>
            <a:ext cx="3025822" cy="44164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1pPr>
            <a:lvl2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2pPr>
            <a:lvl3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3pPr>
            <a:lvl4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4pPr>
            <a:lvl5pPr marL="0" algn="ctr" defTabSz="1828800" rtl="0" eaLnBrk="1" latinLnBrk="0" hangingPunct="1">
              <a:lnSpc>
                <a:spcPct val="90000"/>
              </a:lnSpc>
              <a:defRPr lang="en-GB" sz="1800" kern="1200" spc="600" dirty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114947" y="7623120"/>
            <a:ext cx="3025822" cy="44164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1pPr>
            <a:lvl2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2pPr>
            <a:lvl3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3pPr>
            <a:lvl4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4pPr>
            <a:lvl5pPr marL="0" algn="ctr" defTabSz="1828800" rtl="0" eaLnBrk="1" latinLnBrk="0" hangingPunct="1">
              <a:lnSpc>
                <a:spcPct val="90000"/>
              </a:lnSpc>
              <a:defRPr lang="en-GB" sz="1800" kern="1200" spc="600" dirty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19557029" y="7623120"/>
            <a:ext cx="3025822" cy="44164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1pPr>
            <a:lvl2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2pPr>
            <a:lvl3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3pPr>
            <a:lvl4pPr marL="0" algn="ctr" defTabSz="1828800" rtl="0" eaLnBrk="1" latinLnBrk="0" hangingPunct="1">
              <a:lnSpc>
                <a:spcPct val="90000"/>
              </a:lnSpc>
              <a:defRPr lang="en-GB" sz="1800" kern="1200" spc="600" dirty="0" smtClean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4pPr>
            <a:lvl5pPr marL="0" algn="ctr" defTabSz="1828800" rtl="0" eaLnBrk="1" latinLnBrk="0" hangingPunct="1">
              <a:lnSpc>
                <a:spcPct val="90000"/>
              </a:lnSpc>
              <a:defRPr lang="en-GB" sz="1800" kern="1200" spc="600" dirty="0">
                <a:ln w="0"/>
                <a:solidFill>
                  <a:schemeClr val="tx1"/>
                </a:solidFill>
                <a:latin typeface="YS Text Medium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6"/>
          </p:nvPr>
        </p:nvSpPr>
        <p:spPr>
          <a:xfrm>
            <a:off x="10717213" y="3875957"/>
            <a:ext cx="3026202" cy="221599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sz="2000"/>
            </a:lvl1pPr>
            <a:lvl2pPr>
              <a:spcAft>
                <a:spcPts val="1000"/>
              </a:spcAft>
              <a:defRPr sz="2400"/>
            </a:lvl2pPr>
            <a:lvl3pPr marL="360045" indent="-360045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 marL="631190" indent="-342900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00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288290" marR="0" lvl="2" indent="-28829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575945" lvl="3" indent="-28829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0" name="Text Placeholder 11"/>
          <p:cNvSpPr>
            <a:spLocks noGrp="1"/>
          </p:cNvSpPr>
          <p:nvPr>
            <p:ph type="body" sz="quarter" idx="47"/>
          </p:nvPr>
        </p:nvSpPr>
        <p:spPr>
          <a:xfrm>
            <a:off x="1906588" y="3875957"/>
            <a:ext cx="3026202" cy="221599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sz="2000"/>
            </a:lvl1pPr>
            <a:lvl2pPr>
              <a:spcAft>
                <a:spcPts val="1000"/>
              </a:spcAft>
              <a:defRPr sz="2400"/>
            </a:lvl2pPr>
            <a:lvl3pPr marL="288290" indent="-288290">
              <a:spcAft>
                <a:spcPts val="1000"/>
              </a:spcAft>
              <a:defRPr sz="2000"/>
            </a:lvl3pPr>
            <a:lvl4pPr marL="575945" indent="-288290">
              <a:spcAft>
                <a:spcPts val="1000"/>
              </a:spcAft>
              <a:defRPr sz="2000"/>
            </a:lvl4pPr>
            <a:lvl5pPr>
              <a:spcAft>
                <a:spcPts val="100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1" name="Text Placeholder 11"/>
          <p:cNvSpPr>
            <a:spLocks noGrp="1"/>
          </p:cNvSpPr>
          <p:nvPr>
            <p:ph type="body" sz="quarter" idx="48"/>
          </p:nvPr>
        </p:nvSpPr>
        <p:spPr>
          <a:xfrm>
            <a:off x="19526676" y="3875957"/>
            <a:ext cx="3026202" cy="221599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sz="2000"/>
            </a:lvl1pPr>
            <a:lvl2pPr>
              <a:spcAft>
                <a:spcPts val="1000"/>
              </a:spcAft>
              <a:defRPr sz="2400"/>
            </a:lvl2pPr>
            <a:lvl3pPr marL="360045" indent="-360045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 marL="631190" indent="-342900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00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288290" marR="0" lvl="2" indent="-28829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575945" lvl="3" indent="-28829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2" name="Text Placeholder 11"/>
          <p:cNvSpPr>
            <a:spLocks noGrp="1"/>
          </p:cNvSpPr>
          <p:nvPr>
            <p:ph type="body" sz="quarter" idx="49"/>
          </p:nvPr>
        </p:nvSpPr>
        <p:spPr>
          <a:xfrm>
            <a:off x="6312091" y="9672689"/>
            <a:ext cx="3026202" cy="221599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sz="2000"/>
            </a:lvl1pPr>
            <a:lvl2pPr>
              <a:spcAft>
                <a:spcPts val="1000"/>
              </a:spcAft>
              <a:defRPr sz="2400"/>
            </a:lvl2pPr>
            <a:lvl3pPr marL="360045" indent="-360045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 marL="631190" indent="-342900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00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288290" marR="0" lvl="2" indent="-28829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575945" lvl="3" indent="-28829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50"/>
          </p:nvPr>
        </p:nvSpPr>
        <p:spPr>
          <a:xfrm>
            <a:off x="15121555" y="9672689"/>
            <a:ext cx="3026202" cy="221599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sz="2000"/>
            </a:lvl1pPr>
            <a:lvl2pPr>
              <a:spcAft>
                <a:spcPts val="1000"/>
              </a:spcAft>
              <a:defRPr sz="2400"/>
            </a:lvl2pPr>
            <a:lvl3pPr marL="360045" indent="-360045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 marL="631190" indent="-342900">
              <a:spcAft>
                <a:spcPts val="1000"/>
              </a:spcAft>
              <a:defRPr lang="en-GB" sz="20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00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288290" marR="0" lvl="2" indent="-28829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575945" lvl="3" indent="-28829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о списком, выводами и метриками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 userDrawn="1"/>
        </p:nvSpPr>
        <p:spPr>
          <a:xfrm>
            <a:off x="1" y="0"/>
            <a:ext cx="17334507" cy="137160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32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14663243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>
            <a:off x="1579563" y="4438991"/>
            <a:ext cx="4370379" cy="7946973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1946275" y="3822700"/>
            <a:ext cx="1232579" cy="1232579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 dirty="0">
                <a:ln w="0"/>
                <a:solidFill>
                  <a:schemeClr val="tx1"/>
                </a:solidFill>
                <a:latin typeface="YS Text Medium" pitchFamily="2" charset="77"/>
              </a:rPr>
              <a:t>01</a:t>
            </a:r>
            <a:endParaRPr lang="en-US" dirty="0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730013" y="4438991"/>
            <a:ext cx="4370379" cy="7946973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 userDrawn="1"/>
        </p:nvSpPr>
        <p:spPr>
          <a:xfrm>
            <a:off x="7096726" y="3822700"/>
            <a:ext cx="1232579" cy="1232579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>
                <a:ln w="0"/>
                <a:solidFill>
                  <a:schemeClr val="tx1"/>
                </a:solidFill>
                <a:latin typeface="YS Text Medium" pitchFamily="2" charset="77"/>
              </a:rPr>
              <a:t>02</a:t>
            </a:r>
            <a:endParaRPr lang="en-US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25" name="Rounded Rectangle 24"/>
          <p:cNvSpPr/>
          <p:nvPr userDrawn="1"/>
        </p:nvSpPr>
        <p:spPr>
          <a:xfrm>
            <a:off x="11880464" y="4438991"/>
            <a:ext cx="4370379" cy="7946973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 userDrawn="1"/>
        </p:nvSpPr>
        <p:spPr>
          <a:xfrm>
            <a:off x="12247176" y="3822700"/>
            <a:ext cx="1232579" cy="1232579"/>
          </a:xfrm>
          <a:prstGeom prst="roundRect">
            <a:avLst>
              <a:gd name="adj" fmla="val 31677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>
                <a:ln w="0"/>
                <a:solidFill>
                  <a:schemeClr val="tx1"/>
                </a:solidFill>
                <a:latin typeface="YS Text Medium" pitchFamily="2" charset="77"/>
              </a:rPr>
              <a:t>03</a:t>
            </a:r>
            <a:endParaRPr lang="en-US">
              <a:ln w="0"/>
              <a:solidFill>
                <a:schemeClr val="tx1"/>
              </a:solidFill>
              <a:latin typeface="YS Text Medium" pitchFamily="2" charset="77"/>
            </a:endParaRPr>
          </a:p>
        </p:txBody>
      </p:sp>
      <p:sp>
        <p:nvSpPr>
          <p:cNvPr id="28" name="Text Placeholder 42"/>
          <p:cNvSpPr>
            <a:spLocks noGrp="1"/>
          </p:cNvSpPr>
          <p:nvPr>
            <p:ph type="body" sz="quarter" idx="16" hasCustomPrompt="1"/>
          </p:nvPr>
        </p:nvSpPr>
        <p:spPr>
          <a:xfrm>
            <a:off x="18418175" y="736663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30" name="Text Placeholder 42"/>
          <p:cNvSpPr>
            <a:spLocks noGrp="1"/>
          </p:cNvSpPr>
          <p:nvPr>
            <p:ph type="body" sz="quarter" idx="19" hasCustomPrompt="1"/>
          </p:nvPr>
        </p:nvSpPr>
        <p:spPr>
          <a:xfrm>
            <a:off x="18418175" y="4877014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32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8418175" y="9017365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8418175" y="2090636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18418175" y="6230987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8418175" y="10371338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946275" y="5462248"/>
            <a:ext cx="3524249" cy="6408440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60"/>
          </p:nvPr>
        </p:nvSpPr>
        <p:spPr>
          <a:xfrm>
            <a:off x="7096726" y="5462248"/>
            <a:ext cx="3524249" cy="6408440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61"/>
          </p:nvPr>
        </p:nvSpPr>
        <p:spPr>
          <a:xfrm>
            <a:off x="12247176" y="5462248"/>
            <a:ext cx="3524249" cy="6408440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метриками справа на желтой плашк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 userDrawn="1"/>
        </p:nvSpPr>
        <p:spPr>
          <a:xfrm>
            <a:off x="1" y="0"/>
            <a:ext cx="17334507" cy="13716000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32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14663243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14663243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Text Placeholder 42"/>
          <p:cNvSpPr>
            <a:spLocks noGrp="1"/>
          </p:cNvSpPr>
          <p:nvPr>
            <p:ph type="body" sz="quarter" idx="16" hasCustomPrompt="1"/>
          </p:nvPr>
        </p:nvSpPr>
        <p:spPr>
          <a:xfrm>
            <a:off x="18418175" y="736663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9" hasCustomPrompt="1"/>
          </p:nvPr>
        </p:nvSpPr>
        <p:spPr>
          <a:xfrm>
            <a:off x="18418175" y="4877014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8418175" y="9017365"/>
            <a:ext cx="2916237" cy="112364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8418175" y="2090636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18418175" y="6230987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8418175" y="10371338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 userDrawn="1"/>
        </p:nvSpPr>
        <p:spPr>
          <a:xfrm rot="10800000" flipH="1" flipV="1">
            <a:off x="1594700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1" name="Rounded Rectangle 30"/>
          <p:cNvSpPr/>
          <p:nvPr userDrawn="1"/>
        </p:nvSpPr>
        <p:spPr>
          <a:xfrm rot="10800000" flipH="1" flipV="1">
            <a:off x="7065537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 rot="10800000" flipH="1" flipV="1">
            <a:off x="12536374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 rot="10800000" flipH="1" flipV="1">
            <a:off x="18007212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2"/>
          </p:nvPr>
        </p:nvSpPr>
        <p:spPr>
          <a:xfrm>
            <a:off x="1984057" y="3873536"/>
            <a:ext cx="1102043" cy="1102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endParaRPr lang="en-GB"/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452213" y="3873536"/>
            <a:ext cx="1102043" cy="1102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endParaRPr lang="en-GB"/>
          </a:p>
        </p:txBody>
      </p:sp>
      <p:sp>
        <p:nvSpPr>
          <p:cNvPr id="39" name="Picture Placeholder 11"/>
          <p:cNvSpPr>
            <a:spLocks noGrp="1"/>
          </p:cNvSpPr>
          <p:nvPr>
            <p:ph type="pic" sz="quarter" idx="24"/>
          </p:nvPr>
        </p:nvSpPr>
        <p:spPr>
          <a:xfrm>
            <a:off x="12920369" y="3873536"/>
            <a:ext cx="1102043" cy="1102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endParaRPr lang="en-GB"/>
          </a:p>
        </p:txBody>
      </p:sp>
      <p:sp>
        <p:nvSpPr>
          <p:cNvPr id="40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388525" y="3873536"/>
            <a:ext cx="1102043" cy="1102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endParaRPr lang="en-GB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984057" y="5542496"/>
            <a:ext cx="4028123" cy="611610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7458074" y="5542496"/>
            <a:ext cx="4028123" cy="611610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2920369" y="5542496"/>
            <a:ext cx="4028123" cy="611610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8388525" y="5542496"/>
            <a:ext cx="4028123" cy="611610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ENG_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10061096"/>
            <a:ext cx="12418695" cy="1818167"/>
          </a:xfrm>
          <a:prstGeom prst="rect">
            <a:avLst/>
          </a:prstGeom>
        </p:spPr>
        <p:txBody>
          <a:bodyPr lIns="0" tIns="0" rIns="0" bIns="251999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 baseline="0">
                <a:latin typeface="YS Text Light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en-US"/>
              <a:t>Name, position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065780" y="4434055"/>
            <a:ext cx="12418695" cy="3426766"/>
          </a:xfrm>
        </p:spPr>
        <p:txBody>
          <a:bodyPr vert="horz" tIns="216000" rIns="0" anchor="ctr" anchorCtr="0">
            <a:no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0" b="0" i="0">
                <a:latin typeface="YS Text Medium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25" name="Graphic 37"/>
          <p:cNvGrpSpPr/>
          <p:nvPr userDrawn="1"/>
        </p:nvGrpSpPr>
        <p:grpSpPr>
          <a:xfrm>
            <a:off x="2997964" y="1801297"/>
            <a:ext cx="4006257" cy="1120438"/>
            <a:chOff x="4484742" y="11950785"/>
            <a:chExt cx="9095345" cy="2543714"/>
          </a:xfrm>
          <a:solidFill>
            <a:schemeClr val="tx1"/>
          </a:solidFill>
        </p:grpSpPr>
        <p:sp>
          <p:nvSpPr>
            <p:cNvPr id="26" name="Freeform 25"/>
            <p:cNvSpPr/>
            <p:nvPr/>
          </p:nvSpPr>
          <p:spPr>
            <a:xfrm>
              <a:off x="10822028" y="11950785"/>
              <a:ext cx="2758059" cy="2543714"/>
            </a:xfrm>
            <a:custGeom>
              <a:avLst/>
              <a:gdLst>
                <a:gd name="connsiteX0" fmla="*/ 2497370 w 2758059"/>
                <a:gd name="connsiteY0" fmla="*/ 260298 h 2543714"/>
                <a:gd name="connsiteX1" fmla="*/ 1868140 w 2758059"/>
                <a:gd name="connsiteY1" fmla="*/ 0 h 2543714"/>
                <a:gd name="connsiteX2" fmla="*/ 879640 w 2758059"/>
                <a:gd name="connsiteY2" fmla="*/ 0 h 2543714"/>
                <a:gd name="connsiteX3" fmla="*/ 0 w 2758059"/>
                <a:gd name="connsiteY3" fmla="*/ 888818 h 2543714"/>
                <a:gd name="connsiteX4" fmla="*/ 0 w 2758059"/>
                <a:gd name="connsiteY4" fmla="*/ 1655064 h 2543714"/>
                <a:gd name="connsiteX5" fmla="*/ 889414 w 2758059"/>
                <a:gd name="connsiteY5" fmla="*/ 2543714 h 2543714"/>
                <a:gd name="connsiteX6" fmla="*/ 889920 w 2758059"/>
                <a:gd name="connsiteY6" fmla="*/ 2543714 h 2543714"/>
                <a:gd name="connsiteX7" fmla="*/ 1868140 w 2758059"/>
                <a:gd name="connsiteY7" fmla="*/ 2543714 h 2543714"/>
                <a:gd name="connsiteX8" fmla="*/ 2758060 w 2758059"/>
                <a:gd name="connsiteY8" fmla="*/ 1655569 h 2543714"/>
                <a:gd name="connsiteX9" fmla="*/ 2758060 w 2758059"/>
                <a:gd name="connsiteY9" fmla="*/ 1655064 h 2543714"/>
                <a:gd name="connsiteX10" fmla="*/ 2758060 w 2758059"/>
                <a:gd name="connsiteY10" fmla="*/ 888818 h 2543714"/>
                <a:gd name="connsiteX11" fmla="*/ 2497370 w 2758059"/>
                <a:gd name="connsiteY11" fmla="*/ 260298 h 2543714"/>
                <a:gd name="connsiteX12" fmla="*/ 1369003 w 2758059"/>
                <a:gd name="connsiteY12" fmla="*/ 1431134 h 2543714"/>
                <a:gd name="connsiteX13" fmla="*/ 871720 w 2758059"/>
                <a:gd name="connsiteY13" fmla="*/ 2000052 h 2543714"/>
                <a:gd name="connsiteX14" fmla="*/ 341240 w 2758059"/>
                <a:gd name="connsiteY14" fmla="*/ 1270342 h 2543714"/>
                <a:gd name="connsiteX15" fmla="*/ 944012 w 2758059"/>
                <a:gd name="connsiteY15" fmla="*/ 538275 h 2543714"/>
                <a:gd name="connsiteX16" fmla="*/ 1288117 w 2758059"/>
                <a:gd name="connsiteY16" fmla="*/ 628015 h 2543714"/>
                <a:gd name="connsiteX17" fmla="*/ 1288117 w 2758059"/>
                <a:gd name="connsiteY17" fmla="*/ 826185 h 2543714"/>
                <a:gd name="connsiteX18" fmla="*/ 955977 w 2758059"/>
                <a:gd name="connsiteY18" fmla="*/ 730552 h 2543714"/>
                <a:gd name="connsiteX19" fmla="*/ 591651 w 2758059"/>
                <a:gd name="connsiteY19" fmla="*/ 1270678 h 2543714"/>
                <a:gd name="connsiteX20" fmla="*/ 876270 w 2758059"/>
                <a:gd name="connsiteY20" fmla="*/ 1808111 h 2543714"/>
                <a:gd name="connsiteX21" fmla="*/ 1121794 w 2758059"/>
                <a:gd name="connsiteY21" fmla="*/ 1437700 h 2543714"/>
                <a:gd name="connsiteX22" fmla="*/ 1121794 w 2758059"/>
                <a:gd name="connsiteY22" fmla="*/ 1395103 h 2543714"/>
                <a:gd name="connsiteX23" fmla="*/ 861441 w 2758059"/>
                <a:gd name="connsiteY23" fmla="*/ 1395103 h 2543714"/>
                <a:gd name="connsiteX24" fmla="*/ 861441 w 2758059"/>
                <a:gd name="connsiteY24" fmla="*/ 1202826 h 2543714"/>
                <a:gd name="connsiteX25" fmla="*/ 1369003 w 2758059"/>
                <a:gd name="connsiteY25" fmla="*/ 1202826 h 2543714"/>
                <a:gd name="connsiteX26" fmla="*/ 1967226 w 2758059"/>
                <a:gd name="connsiteY26" fmla="*/ 2000893 h 2543714"/>
                <a:gd name="connsiteX27" fmla="*/ 1512240 w 2758059"/>
                <a:gd name="connsiteY27" fmla="*/ 1467502 h 2543714"/>
                <a:gd name="connsiteX28" fmla="*/ 1967226 w 2758059"/>
                <a:gd name="connsiteY28" fmla="*/ 931752 h 2543714"/>
                <a:gd name="connsiteX29" fmla="*/ 2422213 w 2758059"/>
                <a:gd name="connsiteY29" fmla="*/ 1464976 h 2543714"/>
                <a:gd name="connsiteX30" fmla="*/ 1967226 w 2758059"/>
                <a:gd name="connsiteY30" fmla="*/ 2001230 h 254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58059" h="2543714">
                  <a:moveTo>
                    <a:pt x="2497370" y="260298"/>
                  </a:moveTo>
                  <a:cubicBezTo>
                    <a:pt x="2330474" y="93590"/>
                    <a:pt x="2104126" y="-43"/>
                    <a:pt x="1868140" y="0"/>
                  </a:cubicBezTo>
                  <a:lnTo>
                    <a:pt x="879640" y="0"/>
                  </a:lnTo>
                  <a:cubicBezTo>
                    <a:pt x="388087" y="0"/>
                    <a:pt x="0" y="397855"/>
                    <a:pt x="0" y="888818"/>
                  </a:cubicBezTo>
                  <a:lnTo>
                    <a:pt x="0" y="1655064"/>
                  </a:lnTo>
                  <a:cubicBezTo>
                    <a:pt x="0" y="2145859"/>
                    <a:pt x="398197" y="2543714"/>
                    <a:pt x="889414" y="2543714"/>
                  </a:cubicBezTo>
                  <a:cubicBezTo>
                    <a:pt x="889582" y="2543714"/>
                    <a:pt x="889751" y="2543714"/>
                    <a:pt x="889920" y="2543714"/>
                  </a:cubicBezTo>
                  <a:lnTo>
                    <a:pt x="1868140" y="2543714"/>
                  </a:lnTo>
                  <a:cubicBezTo>
                    <a:pt x="2359357" y="2544000"/>
                    <a:pt x="2757774" y="2146364"/>
                    <a:pt x="2758060" y="1655569"/>
                  </a:cubicBezTo>
                  <a:cubicBezTo>
                    <a:pt x="2758060" y="1655401"/>
                    <a:pt x="2758060" y="1655232"/>
                    <a:pt x="2758060" y="1655064"/>
                  </a:cubicBezTo>
                  <a:lnTo>
                    <a:pt x="2758060" y="888818"/>
                  </a:lnTo>
                  <a:cubicBezTo>
                    <a:pt x="2758043" y="653055"/>
                    <a:pt x="2664266" y="426958"/>
                    <a:pt x="2497370" y="260298"/>
                  </a:cubicBezTo>
                  <a:close/>
                  <a:moveTo>
                    <a:pt x="1369003" y="1431134"/>
                  </a:moveTo>
                  <a:cubicBezTo>
                    <a:pt x="1369003" y="1790938"/>
                    <a:pt x="1196951" y="2000052"/>
                    <a:pt x="871720" y="2000052"/>
                  </a:cubicBezTo>
                  <a:cubicBezTo>
                    <a:pt x="536041" y="2000052"/>
                    <a:pt x="341240" y="1735881"/>
                    <a:pt x="341240" y="1270342"/>
                  </a:cubicBezTo>
                  <a:cubicBezTo>
                    <a:pt x="341240" y="815746"/>
                    <a:pt x="553904" y="538275"/>
                    <a:pt x="944012" y="538275"/>
                  </a:cubicBezTo>
                  <a:cubicBezTo>
                    <a:pt x="1091462" y="538275"/>
                    <a:pt x="1218521" y="577336"/>
                    <a:pt x="1288117" y="628015"/>
                  </a:cubicBezTo>
                  <a:lnTo>
                    <a:pt x="1288117" y="826185"/>
                  </a:lnTo>
                  <a:cubicBezTo>
                    <a:pt x="1188289" y="764443"/>
                    <a:pt x="1073380" y="731355"/>
                    <a:pt x="955977" y="730552"/>
                  </a:cubicBezTo>
                  <a:cubicBezTo>
                    <a:pt x="700005" y="730552"/>
                    <a:pt x="591651" y="904140"/>
                    <a:pt x="591651" y="1270678"/>
                  </a:cubicBezTo>
                  <a:cubicBezTo>
                    <a:pt x="591651" y="1626105"/>
                    <a:pt x="681469" y="1808111"/>
                    <a:pt x="876270" y="1808111"/>
                  </a:cubicBezTo>
                  <a:cubicBezTo>
                    <a:pt x="1062477" y="1808111"/>
                    <a:pt x="1121794" y="1665166"/>
                    <a:pt x="1121794" y="1437700"/>
                  </a:cubicBezTo>
                  <a:lnTo>
                    <a:pt x="1121794" y="1395103"/>
                  </a:lnTo>
                  <a:lnTo>
                    <a:pt x="861441" y="1395103"/>
                  </a:lnTo>
                  <a:lnTo>
                    <a:pt x="861441" y="1202826"/>
                  </a:lnTo>
                  <a:lnTo>
                    <a:pt x="1369003" y="1202826"/>
                  </a:lnTo>
                  <a:close/>
                  <a:moveTo>
                    <a:pt x="1967226" y="2000893"/>
                  </a:moveTo>
                  <a:cubicBezTo>
                    <a:pt x="1699121" y="2000893"/>
                    <a:pt x="1512240" y="1810468"/>
                    <a:pt x="1512240" y="1467502"/>
                  </a:cubicBezTo>
                  <a:cubicBezTo>
                    <a:pt x="1512240" y="1124534"/>
                    <a:pt x="1698616" y="931752"/>
                    <a:pt x="1967226" y="931752"/>
                  </a:cubicBezTo>
                  <a:cubicBezTo>
                    <a:pt x="2235837" y="931752"/>
                    <a:pt x="2422213" y="1121335"/>
                    <a:pt x="2422213" y="1464976"/>
                  </a:cubicBezTo>
                  <a:cubicBezTo>
                    <a:pt x="2422213" y="1808616"/>
                    <a:pt x="2235163" y="2001230"/>
                    <a:pt x="1967226" y="2001230"/>
                  </a:cubicBez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2587206" y="13074983"/>
              <a:ext cx="404432" cy="684923"/>
            </a:xfrm>
            <a:custGeom>
              <a:avLst/>
              <a:gdLst>
                <a:gd name="connsiteX0" fmla="*/ 202216 w 404432"/>
                <a:gd name="connsiteY0" fmla="*/ 0 h 684923"/>
                <a:gd name="connsiteX1" fmla="*/ 0 w 404432"/>
                <a:gd name="connsiteY1" fmla="*/ 343641 h 684923"/>
                <a:gd name="connsiteX2" fmla="*/ 202216 w 404432"/>
                <a:gd name="connsiteY2" fmla="*/ 684924 h 684923"/>
                <a:gd name="connsiteX3" fmla="*/ 404432 w 404432"/>
                <a:gd name="connsiteY3" fmla="*/ 341115 h 684923"/>
                <a:gd name="connsiteX4" fmla="*/ 202216 w 404432"/>
                <a:gd name="connsiteY4" fmla="*/ 0 h 68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432" h="684923">
                  <a:moveTo>
                    <a:pt x="202216" y="0"/>
                  </a:moveTo>
                  <a:cubicBezTo>
                    <a:pt x="67405" y="0"/>
                    <a:pt x="0" y="104052"/>
                    <a:pt x="0" y="343641"/>
                  </a:cubicBezTo>
                  <a:cubicBezTo>
                    <a:pt x="0" y="580704"/>
                    <a:pt x="67405" y="684924"/>
                    <a:pt x="202216" y="684924"/>
                  </a:cubicBezTo>
                  <a:cubicBezTo>
                    <a:pt x="337027" y="684924"/>
                    <a:pt x="404432" y="579862"/>
                    <a:pt x="404432" y="341115"/>
                  </a:cubicBezTo>
                  <a:cubicBezTo>
                    <a:pt x="404432" y="102368"/>
                    <a:pt x="336858" y="0"/>
                    <a:pt x="202216" y="0"/>
                  </a:cubicBez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4484742" y="12511790"/>
              <a:ext cx="5965376" cy="1438878"/>
            </a:xfrm>
            <a:custGeom>
              <a:avLst/>
              <a:gdLst>
                <a:gd name="connsiteX0" fmla="*/ 478073 w 5965376"/>
                <a:gd name="connsiteY0" fmla="*/ 1418506 h 1438878"/>
                <a:gd name="connsiteX1" fmla="*/ 478073 w 5965376"/>
                <a:gd name="connsiteY1" fmla="*/ 1275729 h 1438878"/>
                <a:gd name="connsiteX2" fmla="*/ 377976 w 5965376"/>
                <a:gd name="connsiteY2" fmla="*/ 818440 h 1438878"/>
                <a:gd name="connsiteX3" fmla="*/ 0 w 5965376"/>
                <a:gd name="connsiteY3" fmla="*/ 0 h 1438878"/>
                <a:gd name="connsiteX4" fmla="*/ 261533 w 5965376"/>
                <a:gd name="connsiteY4" fmla="*/ 0 h 1438878"/>
                <a:gd name="connsiteX5" fmla="*/ 581709 w 5965376"/>
                <a:gd name="connsiteY5" fmla="*/ 700077 h 1438878"/>
                <a:gd name="connsiteX6" fmla="*/ 716519 w 5965376"/>
                <a:gd name="connsiteY6" fmla="*/ 1245086 h 1438878"/>
                <a:gd name="connsiteX7" fmla="*/ 716519 w 5965376"/>
                <a:gd name="connsiteY7" fmla="*/ 1418506 h 1438878"/>
                <a:gd name="connsiteX8" fmla="*/ 631251 w 5965376"/>
                <a:gd name="connsiteY8" fmla="*/ 685766 h 1438878"/>
                <a:gd name="connsiteX9" fmla="*/ 929520 w 5965376"/>
                <a:gd name="connsiteY9" fmla="*/ 0 h 1438878"/>
                <a:gd name="connsiteX10" fmla="*/ 1180774 w 5965376"/>
                <a:gd name="connsiteY10" fmla="*/ 0 h 1438878"/>
                <a:gd name="connsiteX11" fmla="*/ 878461 w 5965376"/>
                <a:gd name="connsiteY11" fmla="*/ 685766 h 1438878"/>
                <a:gd name="connsiteX12" fmla="*/ 1895103 w 5965376"/>
                <a:gd name="connsiteY12" fmla="*/ 1167637 h 1438878"/>
                <a:gd name="connsiteX13" fmla="*/ 1907404 w 5965376"/>
                <a:gd name="connsiteY13" fmla="*/ 1418675 h 1438878"/>
                <a:gd name="connsiteX14" fmla="*/ 1671148 w 5965376"/>
                <a:gd name="connsiteY14" fmla="*/ 1418675 h 1438878"/>
                <a:gd name="connsiteX15" fmla="*/ 1652443 w 5965376"/>
                <a:gd name="connsiteY15" fmla="*/ 1337016 h 1438878"/>
                <a:gd name="connsiteX16" fmla="*/ 1642332 w 5965376"/>
                <a:gd name="connsiteY16" fmla="*/ 1337016 h 1438878"/>
                <a:gd name="connsiteX17" fmla="*/ 1390910 w 5965376"/>
                <a:gd name="connsiteY17" fmla="*/ 1432986 h 1438878"/>
                <a:gd name="connsiteX18" fmla="*/ 1076464 w 5965376"/>
                <a:gd name="connsiteY18" fmla="*/ 1108708 h 1438878"/>
                <a:gd name="connsiteX19" fmla="*/ 1613685 w 5965376"/>
                <a:gd name="connsiteY19" fmla="*/ 778032 h 1438878"/>
                <a:gd name="connsiteX20" fmla="*/ 1652443 w 5965376"/>
                <a:gd name="connsiteY20" fmla="*/ 778032 h 1438878"/>
                <a:gd name="connsiteX21" fmla="*/ 1652443 w 5965376"/>
                <a:gd name="connsiteY21" fmla="*/ 720450 h 1438878"/>
                <a:gd name="connsiteX22" fmla="*/ 1482919 w 5965376"/>
                <a:gd name="connsiteY22" fmla="*/ 568918 h 1438878"/>
                <a:gd name="connsiteX23" fmla="*/ 1149936 w 5965376"/>
                <a:gd name="connsiteY23" fmla="*/ 669939 h 1438878"/>
                <a:gd name="connsiteX24" fmla="*/ 1149936 w 5965376"/>
                <a:gd name="connsiteY24" fmla="*/ 467897 h 1438878"/>
                <a:gd name="connsiteX25" fmla="*/ 1511734 w 5965376"/>
                <a:gd name="connsiteY25" fmla="*/ 373947 h 1438878"/>
                <a:gd name="connsiteX26" fmla="*/ 1895608 w 5965376"/>
                <a:gd name="connsiteY26" fmla="*/ 716745 h 1438878"/>
                <a:gd name="connsiteX27" fmla="*/ 1652780 w 5965376"/>
                <a:gd name="connsiteY27" fmla="*/ 938992 h 1438878"/>
                <a:gd name="connsiteX28" fmla="*/ 1617729 w 5965376"/>
                <a:gd name="connsiteY28" fmla="*/ 938992 h 1438878"/>
                <a:gd name="connsiteX29" fmla="*/ 1325527 w 5965376"/>
                <a:gd name="connsiteY29" fmla="*/ 1102310 h 1438878"/>
                <a:gd name="connsiteX30" fmla="*/ 1478706 w 5965376"/>
                <a:gd name="connsiteY30" fmla="*/ 1255357 h 1438878"/>
                <a:gd name="connsiteX31" fmla="*/ 1652443 w 5965376"/>
                <a:gd name="connsiteY31" fmla="*/ 1173698 h 1438878"/>
                <a:gd name="connsiteX32" fmla="*/ 2336945 w 5965376"/>
                <a:gd name="connsiteY32" fmla="*/ 1418506 h 1438878"/>
                <a:gd name="connsiteX33" fmla="*/ 2093948 w 5965376"/>
                <a:gd name="connsiteY33" fmla="*/ 1418506 h 1438878"/>
                <a:gd name="connsiteX34" fmla="*/ 2093948 w 5965376"/>
                <a:gd name="connsiteY34" fmla="*/ 391457 h 1438878"/>
                <a:gd name="connsiteX35" fmla="*/ 2330879 w 5965376"/>
                <a:gd name="connsiteY35" fmla="*/ 391457 h 1438878"/>
                <a:gd name="connsiteX36" fmla="*/ 2336945 w 5965376"/>
                <a:gd name="connsiteY36" fmla="*/ 477325 h 1438878"/>
                <a:gd name="connsiteX37" fmla="*/ 2349415 w 5965376"/>
                <a:gd name="connsiteY37" fmla="*/ 477325 h 1438878"/>
                <a:gd name="connsiteX38" fmla="*/ 2629316 w 5965376"/>
                <a:gd name="connsiteY38" fmla="*/ 375294 h 1438878"/>
                <a:gd name="connsiteX39" fmla="*/ 2909048 w 5965376"/>
                <a:gd name="connsiteY39" fmla="*/ 669266 h 1438878"/>
                <a:gd name="connsiteX40" fmla="*/ 2909048 w 5965376"/>
                <a:gd name="connsiteY40" fmla="*/ 1418338 h 1438878"/>
                <a:gd name="connsiteX41" fmla="*/ 2666052 w 5965376"/>
                <a:gd name="connsiteY41" fmla="*/ 1418338 h 1438878"/>
                <a:gd name="connsiteX42" fmla="*/ 2666052 w 5965376"/>
                <a:gd name="connsiteY42" fmla="*/ 694352 h 1438878"/>
                <a:gd name="connsiteX43" fmla="*/ 2541352 w 5965376"/>
                <a:gd name="connsiteY43" fmla="*/ 580030 h 1438878"/>
                <a:gd name="connsiteX44" fmla="*/ 2337282 w 5965376"/>
                <a:gd name="connsiteY44" fmla="*/ 681051 h 1438878"/>
                <a:gd name="connsiteX45" fmla="*/ 3072506 w 5965376"/>
                <a:gd name="connsiteY45" fmla="*/ 912222 h 1438878"/>
                <a:gd name="connsiteX46" fmla="*/ 3470872 w 5965376"/>
                <a:gd name="connsiteY46" fmla="*/ 371421 h 1438878"/>
                <a:gd name="connsiteX47" fmla="*/ 3728361 w 5965376"/>
                <a:gd name="connsiteY47" fmla="*/ 512346 h 1438878"/>
                <a:gd name="connsiteX48" fmla="*/ 3728361 w 5965376"/>
                <a:gd name="connsiteY48" fmla="*/ 0 h 1438878"/>
                <a:gd name="connsiteX49" fmla="*/ 3971357 w 5965376"/>
                <a:gd name="connsiteY49" fmla="*/ 0 h 1438878"/>
                <a:gd name="connsiteX50" fmla="*/ 3971357 w 5965376"/>
                <a:gd name="connsiteY50" fmla="*/ 1418506 h 1438878"/>
                <a:gd name="connsiteX51" fmla="*/ 3746729 w 5965376"/>
                <a:gd name="connsiteY51" fmla="*/ 1418506 h 1438878"/>
                <a:gd name="connsiteX52" fmla="*/ 3734427 w 5965376"/>
                <a:gd name="connsiteY52" fmla="*/ 1285832 h 1438878"/>
                <a:gd name="connsiteX53" fmla="*/ 3460593 w 5965376"/>
                <a:gd name="connsiteY53" fmla="*/ 1438879 h 1438878"/>
                <a:gd name="connsiteX54" fmla="*/ 3072506 w 5965376"/>
                <a:gd name="connsiteY54" fmla="*/ 912222 h 1438878"/>
                <a:gd name="connsiteX55" fmla="*/ 3323760 w 5965376"/>
                <a:gd name="connsiteY55" fmla="*/ 912222 h 1438878"/>
                <a:gd name="connsiteX56" fmla="*/ 3521932 w 5965376"/>
                <a:gd name="connsiteY56" fmla="*/ 1247107 h 1438878"/>
                <a:gd name="connsiteX57" fmla="*/ 3728361 w 5965376"/>
                <a:gd name="connsiteY57" fmla="*/ 904140 h 1438878"/>
                <a:gd name="connsiteX58" fmla="*/ 3532211 w 5965376"/>
                <a:gd name="connsiteY58" fmla="*/ 563362 h 1438878"/>
                <a:gd name="connsiteX59" fmla="*/ 3323760 w 5965376"/>
                <a:gd name="connsiteY59" fmla="*/ 912222 h 1438878"/>
                <a:gd name="connsiteX60" fmla="*/ 4612888 w 5965376"/>
                <a:gd name="connsiteY60" fmla="*/ 1438879 h 1438878"/>
                <a:gd name="connsiteX61" fmla="*/ 4126558 w 5965376"/>
                <a:gd name="connsiteY61" fmla="*/ 908181 h 1438878"/>
                <a:gd name="connsiteX62" fmla="*/ 4563850 w 5965376"/>
                <a:gd name="connsiteY62" fmla="*/ 371421 h 1438878"/>
                <a:gd name="connsiteX63" fmla="*/ 4964238 w 5965376"/>
                <a:gd name="connsiteY63" fmla="*/ 863395 h 1438878"/>
                <a:gd name="connsiteX64" fmla="*/ 4964238 w 5965376"/>
                <a:gd name="connsiteY64" fmla="*/ 992028 h 1438878"/>
                <a:gd name="connsiteX65" fmla="*/ 4377980 w 5965376"/>
                <a:gd name="connsiteY65" fmla="*/ 992028 h 1438878"/>
                <a:gd name="connsiteX66" fmla="*/ 4633278 w 5965376"/>
                <a:gd name="connsiteY66" fmla="*/ 1247107 h 1438878"/>
                <a:gd name="connsiteX67" fmla="*/ 4953454 w 5965376"/>
                <a:gd name="connsiteY67" fmla="*/ 1151137 h 1438878"/>
                <a:gd name="connsiteX68" fmla="*/ 4953454 w 5965376"/>
                <a:gd name="connsiteY68" fmla="*/ 1349138 h 1438878"/>
                <a:gd name="connsiteX69" fmla="*/ 4612888 w 5965376"/>
                <a:gd name="connsiteY69" fmla="*/ 1438879 h 1438878"/>
                <a:gd name="connsiteX70" fmla="*/ 4377980 w 5965376"/>
                <a:gd name="connsiteY70" fmla="*/ 812379 h 1438878"/>
                <a:gd name="connsiteX71" fmla="*/ 4717029 w 5965376"/>
                <a:gd name="connsiteY71" fmla="*/ 812379 h 1438878"/>
                <a:gd name="connsiteX72" fmla="*/ 4717029 w 5965376"/>
                <a:gd name="connsiteY72" fmla="*/ 791838 h 1438878"/>
                <a:gd name="connsiteX73" fmla="*/ 4559469 w 5965376"/>
                <a:gd name="connsiteY73" fmla="*/ 563193 h 1438878"/>
                <a:gd name="connsiteX74" fmla="*/ 4377980 w 5965376"/>
                <a:gd name="connsiteY74" fmla="*/ 812379 h 1438878"/>
                <a:gd name="connsiteX75" fmla="*/ 5473317 w 5965376"/>
                <a:gd name="connsiteY75" fmla="*/ 1071835 h 1438878"/>
                <a:gd name="connsiteX76" fmla="*/ 5266888 w 5965376"/>
                <a:gd name="connsiteY76" fmla="*/ 1418675 h 1438878"/>
                <a:gd name="connsiteX77" fmla="*/ 5019342 w 5965376"/>
                <a:gd name="connsiteY77" fmla="*/ 1418675 h 1438878"/>
                <a:gd name="connsiteX78" fmla="*/ 5341877 w 5965376"/>
                <a:gd name="connsiteY78" fmla="*/ 883767 h 1438878"/>
                <a:gd name="connsiteX79" fmla="*/ 5031307 w 5965376"/>
                <a:gd name="connsiteY79" fmla="*/ 391794 h 1438878"/>
                <a:gd name="connsiteX80" fmla="*/ 5304973 w 5965376"/>
                <a:gd name="connsiteY80" fmla="*/ 391794 h 1438878"/>
                <a:gd name="connsiteX81" fmla="*/ 5501123 w 5965376"/>
                <a:gd name="connsiteY81" fmla="*/ 701761 h 1438878"/>
                <a:gd name="connsiteX82" fmla="*/ 5676882 w 5965376"/>
                <a:gd name="connsiteY82" fmla="*/ 391457 h 1438878"/>
                <a:gd name="connsiteX83" fmla="*/ 5919878 w 5965376"/>
                <a:gd name="connsiteY83" fmla="*/ 391457 h 1438878"/>
                <a:gd name="connsiteX84" fmla="*/ 5630203 w 5965376"/>
                <a:gd name="connsiteY84" fmla="*/ 889828 h 1438878"/>
                <a:gd name="connsiteX85" fmla="*/ 5965377 w 5965376"/>
                <a:gd name="connsiteY85" fmla="*/ 1418506 h 1438878"/>
                <a:gd name="connsiteX86" fmla="*/ 5691543 w 5965376"/>
                <a:gd name="connsiteY86" fmla="*/ 1418506 h 1438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5965376" h="1438878">
                  <a:moveTo>
                    <a:pt x="478073" y="1418506"/>
                  </a:moveTo>
                  <a:lnTo>
                    <a:pt x="478073" y="1275729"/>
                  </a:lnTo>
                  <a:cubicBezTo>
                    <a:pt x="478073" y="1081769"/>
                    <a:pt x="455492" y="985799"/>
                    <a:pt x="377976" y="818440"/>
                  </a:cubicBezTo>
                  <a:lnTo>
                    <a:pt x="0" y="0"/>
                  </a:lnTo>
                  <a:lnTo>
                    <a:pt x="261533" y="0"/>
                  </a:lnTo>
                  <a:lnTo>
                    <a:pt x="581709" y="700077"/>
                  </a:lnTo>
                  <a:cubicBezTo>
                    <a:pt x="675739" y="903803"/>
                    <a:pt x="716519" y="1010380"/>
                    <a:pt x="716519" y="1245086"/>
                  </a:cubicBezTo>
                  <a:lnTo>
                    <a:pt x="716519" y="1418506"/>
                  </a:lnTo>
                  <a:close/>
                  <a:moveTo>
                    <a:pt x="631251" y="685766"/>
                  </a:moveTo>
                  <a:lnTo>
                    <a:pt x="929520" y="0"/>
                  </a:lnTo>
                  <a:lnTo>
                    <a:pt x="1180774" y="0"/>
                  </a:lnTo>
                  <a:lnTo>
                    <a:pt x="878461" y="685766"/>
                  </a:lnTo>
                  <a:close/>
                  <a:moveTo>
                    <a:pt x="1895103" y="1167637"/>
                  </a:moveTo>
                  <a:cubicBezTo>
                    <a:pt x="1895103" y="1251148"/>
                    <a:pt x="1899197" y="1334827"/>
                    <a:pt x="1907404" y="1418675"/>
                  </a:cubicBezTo>
                  <a:lnTo>
                    <a:pt x="1671148" y="1418675"/>
                  </a:lnTo>
                  <a:cubicBezTo>
                    <a:pt x="1661411" y="1392375"/>
                    <a:pt x="1655124" y="1364931"/>
                    <a:pt x="1652443" y="1337016"/>
                  </a:cubicBezTo>
                  <a:lnTo>
                    <a:pt x="1642332" y="1337016"/>
                  </a:lnTo>
                  <a:cubicBezTo>
                    <a:pt x="1595317" y="1386011"/>
                    <a:pt x="1533978" y="1432986"/>
                    <a:pt x="1390910" y="1432986"/>
                  </a:cubicBezTo>
                  <a:cubicBezTo>
                    <a:pt x="1203186" y="1432986"/>
                    <a:pt x="1076464" y="1316475"/>
                    <a:pt x="1076464" y="1108708"/>
                  </a:cubicBezTo>
                  <a:cubicBezTo>
                    <a:pt x="1076464" y="900941"/>
                    <a:pt x="1241944" y="778032"/>
                    <a:pt x="1613685" y="778032"/>
                  </a:cubicBezTo>
                  <a:lnTo>
                    <a:pt x="1652443" y="778032"/>
                  </a:lnTo>
                  <a:lnTo>
                    <a:pt x="1652443" y="720450"/>
                  </a:lnTo>
                  <a:cubicBezTo>
                    <a:pt x="1652443" y="610168"/>
                    <a:pt x="1599361" y="568918"/>
                    <a:pt x="1482919" y="568918"/>
                  </a:cubicBezTo>
                  <a:cubicBezTo>
                    <a:pt x="1358387" y="568918"/>
                    <a:pt x="1215319" y="621954"/>
                    <a:pt x="1149936" y="669939"/>
                  </a:cubicBezTo>
                  <a:lnTo>
                    <a:pt x="1149936" y="467897"/>
                  </a:lnTo>
                  <a:cubicBezTo>
                    <a:pt x="1260289" y="405634"/>
                    <a:pt x="1385004" y="373250"/>
                    <a:pt x="1511734" y="373947"/>
                  </a:cubicBezTo>
                  <a:cubicBezTo>
                    <a:pt x="1769055" y="373947"/>
                    <a:pt x="1895608" y="467897"/>
                    <a:pt x="1895608" y="716745"/>
                  </a:cubicBezTo>
                  <a:close/>
                  <a:moveTo>
                    <a:pt x="1652780" y="938992"/>
                  </a:moveTo>
                  <a:lnTo>
                    <a:pt x="1617729" y="938992"/>
                  </a:lnTo>
                  <a:cubicBezTo>
                    <a:pt x="1409278" y="938992"/>
                    <a:pt x="1325527" y="981758"/>
                    <a:pt x="1325527" y="1102310"/>
                  </a:cubicBezTo>
                  <a:cubicBezTo>
                    <a:pt x="1325527" y="1194071"/>
                    <a:pt x="1376081" y="1255357"/>
                    <a:pt x="1478706" y="1255357"/>
                  </a:cubicBezTo>
                  <a:cubicBezTo>
                    <a:pt x="1564479" y="1255357"/>
                    <a:pt x="1621774" y="1218316"/>
                    <a:pt x="1652443" y="1173698"/>
                  </a:cubicBezTo>
                  <a:close/>
                  <a:moveTo>
                    <a:pt x="2336945" y="1418506"/>
                  </a:moveTo>
                  <a:lnTo>
                    <a:pt x="2093948" y="1418506"/>
                  </a:lnTo>
                  <a:lnTo>
                    <a:pt x="2093948" y="391457"/>
                  </a:lnTo>
                  <a:lnTo>
                    <a:pt x="2330879" y="391457"/>
                  </a:lnTo>
                  <a:lnTo>
                    <a:pt x="2336945" y="477325"/>
                  </a:lnTo>
                  <a:lnTo>
                    <a:pt x="2349415" y="477325"/>
                  </a:lnTo>
                  <a:cubicBezTo>
                    <a:pt x="2398284" y="428330"/>
                    <a:pt x="2484226" y="375294"/>
                    <a:pt x="2629316" y="375294"/>
                  </a:cubicBezTo>
                  <a:cubicBezTo>
                    <a:pt x="2827319" y="375294"/>
                    <a:pt x="2909048" y="465203"/>
                    <a:pt x="2909048" y="669266"/>
                  </a:cubicBezTo>
                  <a:lnTo>
                    <a:pt x="2909048" y="1418338"/>
                  </a:lnTo>
                  <a:lnTo>
                    <a:pt x="2666052" y="1418338"/>
                  </a:lnTo>
                  <a:lnTo>
                    <a:pt x="2666052" y="694352"/>
                  </a:lnTo>
                  <a:cubicBezTo>
                    <a:pt x="2666052" y="616734"/>
                    <a:pt x="2627294" y="580030"/>
                    <a:pt x="2541352" y="580030"/>
                  </a:cubicBezTo>
                  <a:cubicBezTo>
                    <a:pt x="2461611" y="581423"/>
                    <a:pt x="2386707" y="618504"/>
                    <a:pt x="2337282" y="681051"/>
                  </a:cubicBezTo>
                  <a:close/>
                  <a:moveTo>
                    <a:pt x="3072506" y="912222"/>
                  </a:moveTo>
                  <a:cubicBezTo>
                    <a:pt x="3072506" y="569423"/>
                    <a:pt x="3235964" y="371421"/>
                    <a:pt x="3470872" y="371421"/>
                  </a:cubicBezTo>
                  <a:cubicBezTo>
                    <a:pt x="3575418" y="370350"/>
                    <a:pt x="3672970" y="423745"/>
                    <a:pt x="3728361" y="512346"/>
                  </a:cubicBezTo>
                  <a:lnTo>
                    <a:pt x="3728361" y="0"/>
                  </a:lnTo>
                  <a:lnTo>
                    <a:pt x="3971357" y="0"/>
                  </a:lnTo>
                  <a:lnTo>
                    <a:pt x="3971357" y="1418506"/>
                  </a:lnTo>
                  <a:lnTo>
                    <a:pt x="3746729" y="1418506"/>
                  </a:lnTo>
                  <a:lnTo>
                    <a:pt x="3734427" y="1285832"/>
                  </a:lnTo>
                  <a:cubicBezTo>
                    <a:pt x="3669044" y="1385843"/>
                    <a:pt x="3575013" y="1438879"/>
                    <a:pt x="3460593" y="1438879"/>
                  </a:cubicBezTo>
                  <a:cubicBezTo>
                    <a:pt x="3231920" y="1438879"/>
                    <a:pt x="3072506" y="1251148"/>
                    <a:pt x="3072506" y="912222"/>
                  </a:cubicBezTo>
                  <a:close/>
                  <a:moveTo>
                    <a:pt x="3323760" y="912222"/>
                  </a:moveTo>
                  <a:cubicBezTo>
                    <a:pt x="3323760" y="1145075"/>
                    <a:pt x="3389143" y="1247107"/>
                    <a:pt x="3521932" y="1247107"/>
                  </a:cubicBezTo>
                  <a:cubicBezTo>
                    <a:pt x="3658764" y="1247107"/>
                    <a:pt x="3728361" y="1143055"/>
                    <a:pt x="3728361" y="904140"/>
                  </a:cubicBezTo>
                  <a:cubicBezTo>
                    <a:pt x="3728361" y="665225"/>
                    <a:pt x="3663314" y="563362"/>
                    <a:pt x="3532211" y="563362"/>
                  </a:cubicBezTo>
                  <a:cubicBezTo>
                    <a:pt x="3393187" y="563362"/>
                    <a:pt x="3323760" y="669434"/>
                    <a:pt x="3323760" y="912222"/>
                  </a:cubicBezTo>
                  <a:close/>
                  <a:moveTo>
                    <a:pt x="4612888" y="1438879"/>
                  </a:moveTo>
                  <a:cubicBezTo>
                    <a:pt x="4302318" y="1438879"/>
                    <a:pt x="4126558" y="1265459"/>
                    <a:pt x="4126558" y="908181"/>
                  </a:cubicBezTo>
                  <a:cubicBezTo>
                    <a:pt x="4126558" y="598046"/>
                    <a:pt x="4267604" y="371421"/>
                    <a:pt x="4563850" y="371421"/>
                  </a:cubicBezTo>
                  <a:cubicBezTo>
                    <a:pt x="4807016" y="371421"/>
                    <a:pt x="4964238" y="506116"/>
                    <a:pt x="4964238" y="863395"/>
                  </a:cubicBezTo>
                  <a:lnTo>
                    <a:pt x="4964238" y="992028"/>
                  </a:lnTo>
                  <a:lnTo>
                    <a:pt x="4377980" y="992028"/>
                  </a:lnTo>
                  <a:cubicBezTo>
                    <a:pt x="4388091" y="1163428"/>
                    <a:pt x="4455496" y="1247107"/>
                    <a:pt x="4633278" y="1247107"/>
                  </a:cubicBezTo>
                  <a:cubicBezTo>
                    <a:pt x="4746789" y="1245053"/>
                    <a:pt x="4857553" y="1211850"/>
                    <a:pt x="4953454" y="1151137"/>
                  </a:cubicBezTo>
                  <a:lnTo>
                    <a:pt x="4953454" y="1349138"/>
                  </a:lnTo>
                  <a:cubicBezTo>
                    <a:pt x="4882509" y="1398134"/>
                    <a:pt x="4768931" y="1438879"/>
                    <a:pt x="4612888" y="1438879"/>
                  </a:cubicBezTo>
                  <a:close/>
                  <a:moveTo>
                    <a:pt x="4377980" y="812379"/>
                  </a:moveTo>
                  <a:lnTo>
                    <a:pt x="4717029" y="812379"/>
                  </a:lnTo>
                  <a:lnTo>
                    <a:pt x="4717029" y="791838"/>
                  </a:lnTo>
                  <a:cubicBezTo>
                    <a:pt x="4717029" y="663204"/>
                    <a:pt x="4679956" y="563193"/>
                    <a:pt x="4559469" y="563193"/>
                  </a:cubicBezTo>
                  <a:cubicBezTo>
                    <a:pt x="4443363" y="563362"/>
                    <a:pt x="4384047" y="649061"/>
                    <a:pt x="4377980" y="812379"/>
                  </a:cubicBezTo>
                  <a:close/>
                  <a:moveTo>
                    <a:pt x="5473317" y="1071835"/>
                  </a:moveTo>
                  <a:lnTo>
                    <a:pt x="5266888" y="1418675"/>
                  </a:lnTo>
                  <a:lnTo>
                    <a:pt x="5019342" y="1418675"/>
                  </a:lnTo>
                  <a:lnTo>
                    <a:pt x="5341877" y="883767"/>
                  </a:lnTo>
                  <a:lnTo>
                    <a:pt x="5031307" y="391794"/>
                  </a:lnTo>
                  <a:lnTo>
                    <a:pt x="5304973" y="391794"/>
                  </a:lnTo>
                  <a:lnTo>
                    <a:pt x="5501123" y="701761"/>
                  </a:lnTo>
                  <a:lnTo>
                    <a:pt x="5676882" y="391457"/>
                  </a:lnTo>
                  <a:lnTo>
                    <a:pt x="5919878" y="391457"/>
                  </a:lnTo>
                  <a:lnTo>
                    <a:pt x="5630203" y="889828"/>
                  </a:lnTo>
                  <a:lnTo>
                    <a:pt x="5965377" y="1418506"/>
                  </a:lnTo>
                  <a:lnTo>
                    <a:pt x="5691543" y="1418506"/>
                  </a:ln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с текстом и акце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 userDrawn="1"/>
        </p:nvSpPr>
        <p:spPr>
          <a:xfrm rot="10800000" flipH="1" flipV="1">
            <a:off x="1594700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1" name="Rounded Rectangle 30"/>
          <p:cNvSpPr/>
          <p:nvPr userDrawn="1"/>
        </p:nvSpPr>
        <p:spPr>
          <a:xfrm rot="10800000" flipH="1" flipV="1">
            <a:off x="7065537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 rot="10800000" flipH="1" flipV="1">
            <a:off x="12536374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 rot="10800000" flipH="1" flipV="1">
            <a:off x="18007212" y="3486150"/>
            <a:ext cx="4813200" cy="8763000"/>
          </a:xfrm>
          <a:prstGeom prst="roundRect">
            <a:avLst>
              <a:gd name="adj" fmla="val 14477"/>
            </a:avLst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2" hasCustomPrompt="1"/>
          </p:nvPr>
        </p:nvSpPr>
        <p:spPr>
          <a:xfrm>
            <a:off x="1984057" y="3873536"/>
            <a:ext cx="1102043" cy="1102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7452213" y="3873536"/>
            <a:ext cx="1102043" cy="1102043"/>
          </a:xfrm>
          <a:prstGeom prst="rect">
            <a:avLst/>
          </a:prstGeom>
        </p:spPr>
        <p:txBody>
          <a:bodyPr/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 sz="2400"/>
            </a:lvl1pPr>
          </a:lstStyle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/>
            </a:pPr>
            <a:r>
              <a:rPr lang="en-GB" dirty="0"/>
              <a:t>ICON</a:t>
            </a:r>
          </a:p>
          <a:p>
            <a:endParaRPr lang="en-GB" dirty="0"/>
          </a:p>
        </p:txBody>
      </p:sp>
      <p:sp>
        <p:nvSpPr>
          <p:cNvPr id="39" name="Picture Placeholder 11"/>
          <p:cNvSpPr>
            <a:spLocks noGrp="1"/>
          </p:cNvSpPr>
          <p:nvPr>
            <p:ph type="pic" sz="quarter" idx="24" hasCustomPrompt="1"/>
          </p:nvPr>
        </p:nvSpPr>
        <p:spPr>
          <a:xfrm>
            <a:off x="12920369" y="3873536"/>
            <a:ext cx="1102043" cy="1102043"/>
          </a:xfrm>
          <a:prstGeom prst="rect">
            <a:avLst/>
          </a:prstGeom>
        </p:spPr>
        <p:txBody>
          <a:bodyPr/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 sz="2400"/>
            </a:lvl1pPr>
          </a:lstStyle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/>
            </a:pPr>
            <a:r>
              <a:rPr lang="en-GB" dirty="0"/>
              <a:t>ICON</a:t>
            </a:r>
          </a:p>
          <a:p>
            <a:endParaRPr lang="en-GB" dirty="0"/>
          </a:p>
        </p:txBody>
      </p:sp>
      <p:sp>
        <p:nvSpPr>
          <p:cNvPr id="40" name="Picture Placeholder 11"/>
          <p:cNvSpPr>
            <a:spLocks noGrp="1"/>
          </p:cNvSpPr>
          <p:nvPr>
            <p:ph type="pic" sz="quarter" idx="25" hasCustomPrompt="1"/>
          </p:nvPr>
        </p:nvSpPr>
        <p:spPr>
          <a:xfrm>
            <a:off x="18388525" y="3873536"/>
            <a:ext cx="1102043" cy="1102043"/>
          </a:xfrm>
          <a:prstGeom prst="rect">
            <a:avLst/>
          </a:prstGeom>
        </p:spPr>
        <p:txBody>
          <a:bodyPr/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 sz="2400"/>
            </a:lvl1pPr>
          </a:lstStyle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/>
            </a:pPr>
            <a:r>
              <a:rPr lang="en-GB" dirty="0"/>
              <a:t>ICON</a:t>
            </a:r>
          </a:p>
          <a:p>
            <a:endParaRPr lang="en-GB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984057" y="5542496"/>
            <a:ext cx="4028123" cy="597894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7458074" y="5542496"/>
            <a:ext cx="4028123" cy="597894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2920369" y="5542496"/>
            <a:ext cx="4028123" cy="597894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8388525" y="5542496"/>
            <a:ext cx="4028123" cy="5978944"/>
          </a:xfrm>
        </p:spPr>
        <p:txBody>
          <a:bodyPr>
            <a:noAutofit/>
          </a:bodyPr>
          <a:lstStyle>
            <a:lvl1pPr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marL="0" lv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</a:pPr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 userDrawn="1"/>
        </p:nvSpPr>
        <p:spPr>
          <a:xfrm rot="5400000">
            <a:off x="-2286000" y="2286002"/>
            <a:ext cx="13716000" cy="9144001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6780546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753456" y="12816067"/>
            <a:ext cx="11994144" cy="4040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>
            <a:off x="9753456" y="1510568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>
            <a:off x="9753456" y="5327191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 userDrawn="1"/>
        </p:nvSpPr>
        <p:spPr>
          <a:xfrm>
            <a:off x="16910859" y="1510568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 userDrawn="1"/>
        </p:nvSpPr>
        <p:spPr>
          <a:xfrm>
            <a:off x="16910859" y="5327191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>
            <a:off x="16910859" y="9139905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52" name="Picture Placeholder 51"/>
          <p:cNvSpPr>
            <a:spLocks noGrp="1"/>
          </p:cNvSpPr>
          <p:nvPr>
            <p:ph type="pic" sz="quarter" idx="10"/>
          </p:nvPr>
        </p:nvSpPr>
        <p:spPr>
          <a:xfrm>
            <a:off x="0" y="6318124"/>
            <a:ext cx="8368146" cy="7397876"/>
          </a:xfrm>
          <a:custGeom>
            <a:avLst/>
            <a:gdLst>
              <a:gd name="connsiteX0" fmla="*/ 298178 w 8368146"/>
              <a:gd name="connsiteY0" fmla="*/ 0 h 7397876"/>
              <a:gd name="connsiteX1" fmla="*/ 6754114 w 8368146"/>
              <a:gd name="connsiteY1" fmla="*/ 0 h 7397876"/>
              <a:gd name="connsiteX2" fmla="*/ 8368146 w 8368146"/>
              <a:gd name="connsiteY2" fmla="*/ 1614032 h 7397876"/>
              <a:gd name="connsiteX3" fmla="*/ 8368146 w 8368146"/>
              <a:gd name="connsiteY3" fmla="*/ 7397876 h 7397876"/>
              <a:gd name="connsiteX4" fmla="*/ 0 w 8368146"/>
              <a:gd name="connsiteY4" fmla="*/ 7397876 h 7397876"/>
              <a:gd name="connsiteX5" fmla="*/ 0 w 8368146"/>
              <a:gd name="connsiteY5" fmla="*/ 28655 h 7397876"/>
              <a:gd name="connsiteX6" fmla="*/ 133153 w 8368146"/>
              <a:gd name="connsiteY6" fmla="*/ 8333 h 7397876"/>
              <a:gd name="connsiteX7" fmla="*/ 298178 w 8368146"/>
              <a:gd name="connsiteY7" fmla="*/ 0 h 739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68146" h="7397876">
                <a:moveTo>
                  <a:pt x="298178" y="0"/>
                </a:moveTo>
                <a:lnTo>
                  <a:pt x="6754114" y="0"/>
                </a:lnTo>
                <a:cubicBezTo>
                  <a:pt x="7645519" y="0"/>
                  <a:pt x="8368146" y="722627"/>
                  <a:pt x="8368146" y="1614032"/>
                </a:cubicBezTo>
                <a:lnTo>
                  <a:pt x="8368146" y="7397876"/>
                </a:lnTo>
                <a:lnTo>
                  <a:pt x="0" y="7397876"/>
                </a:lnTo>
                <a:lnTo>
                  <a:pt x="0" y="28655"/>
                </a:lnTo>
                <a:lnTo>
                  <a:pt x="133153" y="8333"/>
                </a:lnTo>
                <a:cubicBezTo>
                  <a:pt x="187412" y="2823"/>
                  <a:pt x="242465" y="0"/>
                  <a:pt x="2981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1" hasCustomPrompt="1"/>
          </p:nvPr>
        </p:nvSpPr>
        <p:spPr>
          <a:xfrm>
            <a:off x="1587500" y="3911600"/>
            <a:ext cx="6780546" cy="1752600"/>
          </a:xfrm>
          <a:prstGeom prst="rect">
            <a:avLst/>
          </a:prstGeom>
        </p:spPr>
        <p:txBody>
          <a:bodyPr/>
          <a:lstStyle>
            <a:lvl1pPr marL="0" algn="l" defTabSz="1828800" rtl="0" eaLnBrk="1" latinLnBrk="0" hangingPunct="1">
              <a:defRPr lang="en-US" sz="3600" kern="1200" dirty="0">
                <a:solidFill>
                  <a:sysClr val="windowText" lastClr="000000"/>
                </a:solidFill>
                <a:latin typeface="YS Text Light" pitchFamily="2" charset="77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ysClr val="windowText" lastClr="000000"/>
                </a:solidFill>
                <a:latin typeface="YS Text Light" pitchFamily="2" charset="77"/>
              </a:rPr>
              <a:t>Text</a:t>
            </a:r>
          </a:p>
        </p:txBody>
      </p:sp>
      <p:sp>
        <p:nvSpPr>
          <p:cNvPr id="57" name="Picture Placeholder 11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895656" y="1652768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8" name="Picture Placeholder 11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895656" y="5469391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9" name="Rounded Rectangle 58"/>
          <p:cNvSpPr/>
          <p:nvPr userDrawn="1"/>
        </p:nvSpPr>
        <p:spPr>
          <a:xfrm>
            <a:off x="9753456" y="9139905"/>
            <a:ext cx="907200" cy="9072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lvl="0"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60" name="Picture Placeholder 11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9895656" y="9282105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61" name="Picture Placeholder 11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17053059" y="1652768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62" name="Picture Placeholder 11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17053059" y="5469391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63" name="Picture Placeholder 11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17053059" y="9282105"/>
            <a:ext cx="622800" cy="6228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1090275" y="1510567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18188651" y="1510567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1090275" y="5322745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8188651" y="5322745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60"/>
          </p:nvPr>
        </p:nvSpPr>
        <p:spPr>
          <a:xfrm>
            <a:off x="11090275" y="9139904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61"/>
          </p:nvPr>
        </p:nvSpPr>
        <p:spPr>
          <a:xfrm>
            <a:off x="18188651" y="9139904"/>
            <a:ext cx="4394200" cy="2508379"/>
          </a:xfrm>
        </p:spPr>
        <p:txBody>
          <a:bodyPr>
            <a:sp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тография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 userDrawn="1"/>
        </p:nvSpPr>
        <p:spPr>
          <a:xfrm rot="5400000">
            <a:off x="12161043" y="1494634"/>
            <a:ext cx="13716000" cy="10726738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33"/>
          </p:nvPr>
        </p:nvSpPr>
        <p:spPr>
          <a:xfrm>
            <a:off x="15127288" y="906463"/>
            <a:ext cx="9255125" cy="12809535"/>
          </a:xfrm>
          <a:custGeom>
            <a:avLst/>
            <a:gdLst>
              <a:gd name="connsiteX0" fmla="*/ 1449861 w 8161337"/>
              <a:gd name="connsiteY0" fmla="*/ 0 h 12809535"/>
              <a:gd name="connsiteX1" fmla="*/ 8161337 w 8161337"/>
              <a:gd name="connsiteY1" fmla="*/ 0 h 12809535"/>
              <a:gd name="connsiteX2" fmla="*/ 8161337 w 8161337"/>
              <a:gd name="connsiteY2" fmla="*/ 12809535 h 12809535"/>
              <a:gd name="connsiteX3" fmla="*/ 0 w 8161337"/>
              <a:gd name="connsiteY3" fmla="*/ 12809535 h 12809535"/>
              <a:gd name="connsiteX4" fmla="*/ 0 w 8161337"/>
              <a:gd name="connsiteY4" fmla="*/ 1449862 h 12809535"/>
              <a:gd name="connsiteX5" fmla="*/ 1449861 w 8161337"/>
              <a:gd name="connsiteY5" fmla="*/ 0 h 12809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61337" h="12809535">
                <a:moveTo>
                  <a:pt x="1449861" y="0"/>
                </a:moveTo>
                <a:lnTo>
                  <a:pt x="8161337" y="0"/>
                </a:lnTo>
                <a:lnTo>
                  <a:pt x="8161337" y="12809535"/>
                </a:lnTo>
                <a:lnTo>
                  <a:pt x="0" y="12809535"/>
                </a:lnTo>
                <a:lnTo>
                  <a:pt x="0" y="1449862"/>
                </a:lnTo>
                <a:cubicBezTo>
                  <a:pt x="0" y="649125"/>
                  <a:pt x="649125" y="0"/>
                  <a:pt x="144986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10974288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10974288" cy="3994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587600" y="3428999"/>
            <a:ext cx="10974288" cy="8719457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800"/>
            </a:lvl1pPr>
            <a:lvl2pPr>
              <a:spcBef>
                <a:spcPts val="1800"/>
              </a:spcBef>
              <a:spcAft>
                <a:spcPts val="1800"/>
              </a:spcAft>
              <a:defRPr sz="3600"/>
            </a:lvl2pPr>
            <a:lvl3pPr marL="360045" indent="-360045">
              <a:spcAft>
                <a:spcPts val="1200"/>
              </a:spcAft>
              <a:defRPr sz="2800"/>
            </a:lvl3pPr>
            <a:lvl4pPr marL="720090" indent="-360045">
              <a:spcAft>
                <a:spcPts val="1200"/>
              </a:spcAft>
              <a:defRPr sz="2800"/>
            </a:lvl4pPr>
            <a:lvl5pPr>
              <a:spcAft>
                <a:spcPts val="12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500" y="740410"/>
            <a:ext cx="20756880" cy="10153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500" y="12816205"/>
            <a:ext cx="20756880" cy="3994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587500" y="3429000"/>
            <a:ext cx="20757515" cy="8719185"/>
          </a:xfrm>
        </p:spPr>
        <p:txBody>
          <a:bodyPr>
            <a:noAutofit/>
          </a:bodyPr>
          <a:lstStyle>
            <a:lvl1pPr>
              <a:spcAft>
                <a:spcPts val="1200"/>
              </a:spcAft>
              <a:defRPr sz="2800"/>
            </a:lvl1pPr>
            <a:lvl2pPr>
              <a:spcBef>
                <a:spcPts val="1800"/>
              </a:spcBef>
              <a:spcAft>
                <a:spcPts val="1800"/>
              </a:spcAft>
              <a:defRPr sz="3600"/>
            </a:lvl2pPr>
            <a:lvl3pPr marL="360045" indent="-360045">
              <a:spcAft>
                <a:spcPts val="1200"/>
              </a:spcAft>
              <a:defRPr sz="2800"/>
            </a:lvl3pPr>
            <a:lvl4pPr marL="720090" indent="-360045">
              <a:spcAft>
                <a:spcPts val="1200"/>
              </a:spcAft>
              <a:defRPr sz="2800"/>
            </a:lvl4pPr>
            <a:lvl5pPr>
              <a:spcAft>
                <a:spcPts val="12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 и метрики с обоснов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Rounded Rectangle 8"/>
          <p:cNvSpPr/>
          <p:nvPr userDrawn="1"/>
        </p:nvSpPr>
        <p:spPr>
          <a:xfrm>
            <a:off x="8903544" y="3120043"/>
            <a:ext cx="6584851" cy="8791575"/>
          </a:xfrm>
          <a:prstGeom prst="roundRect">
            <a:avLst>
              <a:gd name="adj" fmla="val 11468"/>
            </a:avLst>
          </a:pr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1579563" y="3120043"/>
            <a:ext cx="6584851" cy="8791575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>
            <a:off x="16227524" y="3120043"/>
            <a:ext cx="6584851" cy="8791575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26" hasCustomPrompt="1"/>
          </p:nvPr>
        </p:nvSpPr>
        <p:spPr>
          <a:xfrm>
            <a:off x="2253842" y="3952523"/>
            <a:ext cx="4234044" cy="2262181"/>
          </a:xfrm>
          <a:prstGeom prst="rect">
            <a:avLst/>
          </a:prstGeom>
        </p:spPr>
        <p:txBody>
          <a:bodyPr/>
          <a:lstStyle>
            <a:lvl1pPr>
              <a:defRPr sz="1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39" name="Text Placeholder 33"/>
          <p:cNvSpPr>
            <a:spLocks noGrp="1"/>
          </p:cNvSpPr>
          <p:nvPr>
            <p:ph type="body" sz="quarter" idx="29" hasCustomPrompt="1"/>
          </p:nvPr>
        </p:nvSpPr>
        <p:spPr>
          <a:xfrm>
            <a:off x="9582300" y="3952523"/>
            <a:ext cx="4234044" cy="2262181"/>
          </a:xfrm>
          <a:prstGeom prst="rect">
            <a:avLst/>
          </a:prstGeom>
        </p:spPr>
        <p:txBody>
          <a:bodyPr/>
          <a:lstStyle>
            <a:lvl1pPr>
              <a:defRPr sz="1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16897500" y="3952523"/>
            <a:ext cx="4234044" cy="2262181"/>
          </a:xfrm>
          <a:prstGeom prst="rect">
            <a:avLst/>
          </a:prstGeom>
        </p:spPr>
        <p:txBody>
          <a:bodyPr/>
          <a:lstStyle>
            <a:lvl1pPr>
              <a:defRPr sz="166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2253842" y="6658563"/>
            <a:ext cx="5535985" cy="4588557"/>
          </a:xfrm>
        </p:spPr>
        <p:txBody>
          <a:bodyPr wrap="square">
            <a:no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2800"/>
            </a:lvl2pPr>
            <a:lvl3pPr>
              <a:spcAft>
                <a:spcPts val="1200"/>
              </a:spcAft>
              <a:defRPr sz="2800"/>
            </a:lvl3pPr>
            <a:lvl4pPr>
              <a:spcAft>
                <a:spcPts val="1200"/>
              </a:spcAft>
              <a:defRPr sz="2800"/>
            </a:lvl4pPr>
            <a:lvl5pPr>
              <a:spcAft>
                <a:spcPts val="12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9582300" y="6658563"/>
            <a:ext cx="5535985" cy="4588557"/>
          </a:xfrm>
        </p:spPr>
        <p:txBody>
          <a:bodyPr wrap="square">
            <a:no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2800"/>
            </a:lvl2pPr>
            <a:lvl3pPr>
              <a:spcAft>
                <a:spcPts val="1200"/>
              </a:spcAft>
              <a:defRPr sz="2800"/>
            </a:lvl3pPr>
            <a:lvl4pPr>
              <a:spcAft>
                <a:spcPts val="1200"/>
              </a:spcAft>
              <a:defRPr sz="2800"/>
            </a:lvl4pPr>
            <a:lvl5pPr>
              <a:spcAft>
                <a:spcPts val="12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5"/>
          </p:nvPr>
        </p:nvSpPr>
        <p:spPr>
          <a:xfrm>
            <a:off x="16897500" y="6658563"/>
            <a:ext cx="5535985" cy="4588557"/>
          </a:xfrm>
        </p:spPr>
        <p:txBody>
          <a:bodyPr wrap="square">
            <a:no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2800"/>
            </a:lvl2pPr>
            <a:lvl3pPr>
              <a:spcAft>
                <a:spcPts val="1200"/>
              </a:spcAft>
              <a:defRPr sz="2800"/>
            </a:lvl3pPr>
            <a:lvl4pPr>
              <a:spcAft>
                <a:spcPts val="1200"/>
              </a:spcAft>
              <a:defRPr sz="2800"/>
            </a:lvl4pPr>
            <a:lvl5pPr>
              <a:spcAft>
                <a:spcPts val="12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трика и тезисы-обоснова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Freeform 26"/>
          <p:cNvSpPr/>
          <p:nvPr userDrawn="1"/>
        </p:nvSpPr>
        <p:spPr>
          <a:xfrm rot="20572787">
            <a:off x="12207588" y="3688498"/>
            <a:ext cx="12532524" cy="11579062"/>
          </a:xfrm>
          <a:custGeom>
            <a:avLst/>
            <a:gdLst>
              <a:gd name="connsiteX0" fmla="*/ 10308988 w 12532524"/>
              <a:gd name="connsiteY0" fmla="*/ 142274 h 11579062"/>
              <a:gd name="connsiteX1" fmla="*/ 12532523 w 12532524"/>
              <a:gd name="connsiteY1" fmla="*/ 3164589 h 11579062"/>
              <a:gd name="connsiteX2" fmla="*/ 12532524 w 12532524"/>
              <a:gd name="connsiteY2" fmla="*/ 5517647 h 11579062"/>
              <a:gd name="connsiteX3" fmla="*/ 10665447 w 12532524"/>
              <a:gd name="connsiteY3" fmla="*/ 11579062 h 11579062"/>
              <a:gd name="connsiteX4" fmla="*/ 0 w 12532524"/>
              <a:gd name="connsiteY4" fmla="*/ 8293822 h 11579062"/>
              <a:gd name="connsiteX5" fmla="*/ 0 w 12532524"/>
              <a:gd name="connsiteY5" fmla="*/ 3164588 h 11579062"/>
              <a:gd name="connsiteX6" fmla="*/ 3164588 w 12532524"/>
              <a:gd name="connsiteY6" fmla="*/ 1 h 11579062"/>
              <a:gd name="connsiteX7" fmla="*/ 9367936 w 12532524"/>
              <a:gd name="connsiteY7" fmla="*/ 0 h 11579062"/>
              <a:gd name="connsiteX8" fmla="*/ 10308988 w 12532524"/>
              <a:gd name="connsiteY8" fmla="*/ 142274 h 1157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32524" h="11579062">
                <a:moveTo>
                  <a:pt x="10308988" y="142274"/>
                </a:moveTo>
                <a:cubicBezTo>
                  <a:pt x="11597192" y="542947"/>
                  <a:pt x="12532524" y="1744538"/>
                  <a:pt x="12532523" y="3164589"/>
                </a:cubicBezTo>
                <a:lnTo>
                  <a:pt x="12532524" y="5517647"/>
                </a:lnTo>
                <a:lnTo>
                  <a:pt x="10665447" y="11579062"/>
                </a:lnTo>
                <a:lnTo>
                  <a:pt x="0" y="8293822"/>
                </a:lnTo>
                <a:lnTo>
                  <a:pt x="0" y="3164588"/>
                </a:lnTo>
                <a:cubicBezTo>
                  <a:pt x="0" y="1416834"/>
                  <a:pt x="1416834" y="1"/>
                  <a:pt x="3164588" y="1"/>
                </a:cubicBezTo>
                <a:lnTo>
                  <a:pt x="9367936" y="0"/>
                </a:lnTo>
                <a:cubicBezTo>
                  <a:pt x="9695640" y="0"/>
                  <a:pt x="10011710" y="49811"/>
                  <a:pt x="10308988" y="142274"/>
                </a:cubicBezTo>
                <a:close/>
              </a:path>
            </a:pathLst>
          </a:custGeom>
          <a:solidFill>
            <a:schemeClr val="bg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3682316" y="4979031"/>
            <a:ext cx="8623300" cy="529375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defRPr sz="344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43" name="Rounded Rectangle 42"/>
          <p:cNvSpPr/>
          <p:nvPr userDrawn="1"/>
        </p:nvSpPr>
        <p:spPr>
          <a:xfrm>
            <a:off x="1595347" y="4152757"/>
            <a:ext cx="1447700" cy="14477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5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Rounded Rectangle 24"/>
          <p:cNvSpPr/>
          <p:nvPr userDrawn="1"/>
        </p:nvSpPr>
        <p:spPr>
          <a:xfrm>
            <a:off x="1595347" y="7043197"/>
            <a:ext cx="1447700" cy="14477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>
            <a:off x="1595347" y="9933637"/>
            <a:ext cx="1447700" cy="1447700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48" name="Picture Placeholder 11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825997" y="4383407"/>
            <a:ext cx="986400" cy="986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49" name="Picture Placeholder 11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825997" y="7273847"/>
            <a:ext cx="986400" cy="986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50" name="Picture Placeholder 11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1825997" y="10164287"/>
            <a:ext cx="986400" cy="98640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3543299" y="3434063"/>
            <a:ext cx="7726681" cy="2893100"/>
          </a:xfrm>
        </p:spPr>
        <p:txBody>
          <a:bodyPr anchor="ctr" anchorCtr="0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3543299" y="6320116"/>
            <a:ext cx="7726681" cy="2893100"/>
          </a:xfrm>
        </p:spPr>
        <p:txBody>
          <a:bodyPr anchor="ctr" anchorCtr="0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3543299" y="9206170"/>
            <a:ext cx="7726681" cy="2893100"/>
          </a:xfrm>
        </p:spPr>
        <p:txBody>
          <a:bodyPr anchor="ctr" anchorCtr="0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800"/>
              </a:spcAft>
              <a:defRPr sz="2400"/>
            </a:lvl3pPr>
            <a:lvl4pPr marL="720090" indent="-360045">
              <a:spcAft>
                <a:spcPts val="1800"/>
              </a:spcAft>
              <a:defRPr sz="2400"/>
            </a:lvl4pPr>
            <a:lvl5pPr>
              <a:spcAft>
                <a:spcPts val="18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59"/>
          </p:nvPr>
        </p:nvSpPr>
        <p:spPr>
          <a:xfrm>
            <a:off x="14171352" y="9723363"/>
            <a:ext cx="8134263" cy="2031325"/>
          </a:xfrm>
        </p:spPr>
        <p:txBody>
          <a:bodyPr anchor="t" anchorCtr="0">
            <a:spAutoFit/>
          </a:bodyPr>
          <a:lstStyle>
            <a:lvl1pPr>
              <a:spcAft>
                <a:spcPts val="2800"/>
              </a:spcAft>
              <a:defRPr sz="6600"/>
            </a:lvl1pPr>
            <a:lvl2pPr>
              <a:spcAft>
                <a:spcPts val="2800"/>
              </a:spcAft>
              <a:defRPr sz="6600"/>
            </a:lvl2pPr>
            <a:lvl3pPr marL="612140" indent="-612140">
              <a:spcAft>
                <a:spcPts val="2800"/>
              </a:spcAft>
              <a:defRPr sz="6600"/>
            </a:lvl3pPr>
            <a:lvl4pPr marL="1224280" indent="-612140">
              <a:spcAft>
                <a:spcPts val="2800"/>
              </a:spcAft>
              <a:defRPr sz="6600"/>
            </a:lvl4pPr>
            <a:lvl5pPr>
              <a:spcAft>
                <a:spcPts val="2800"/>
              </a:spcAft>
              <a:defRPr sz="66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о схемой-тезис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/>
          <p:cNvSpPr/>
          <p:nvPr userDrawn="1"/>
        </p:nvSpPr>
        <p:spPr>
          <a:xfrm rot="2700000">
            <a:off x="-3871260" y="-352629"/>
            <a:ext cx="14421257" cy="14421258"/>
          </a:xfrm>
          <a:custGeom>
            <a:avLst/>
            <a:gdLst>
              <a:gd name="connsiteX0" fmla="*/ 0 w 14421257"/>
              <a:gd name="connsiteY0" fmla="*/ 4722581 h 14421258"/>
              <a:gd name="connsiteX1" fmla="*/ 4722581 w 14421257"/>
              <a:gd name="connsiteY1" fmla="*/ 0 h 14421258"/>
              <a:gd name="connsiteX2" fmla="*/ 7953236 w 14421257"/>
              <a:gd name="connsiteY2" fmla="*/ 0 h 14421258"/>
              <a:gd name="connsiteX3" fmla="*/ 14421257 w 14421257"/>
              <a:gd name="connsiteY3" fmla="*/ 6468022 h 14421258"/>
              <a:gd name="connsiteX4" fmla="*/ 14421257 w 14421257"/>
              <a:gd name="connsiteY4" fmla="*/ 9698677 h 14421258"/>
              <a:gd name="connsiteX5" fmla="*/ 9698676 w 14421257"/>
              <a:gd name="connsiteY5" fmla="*/ 14421258 h 1442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421257" h="14421258">
                <a:moveTo>
                  <a:pt x="0" y="4722581"/>
                </a:moveTo>
                <a:lnTo>
                  <a:pt x="4722581" y="0"/>
                </a:lnTo>
                <a:lnTo>
                  <a:pt x="7953236" y="0"/>
                </a:lnTo>
                <a:cubicBezTo>
                  <a:pt x="11525426" y="1"/>
                  <a:pt x="14421257" y="2895832"/>
                  <a:pt x="14421257" y="6468022"/>
                </a:cubicBezTo>
                <a:lnTo>
                  <a:pt x="14421257" y="9698677"/>
                </a:lnTo>
                <a:lnTo>
                  <a:pt x="9698676" y="14421258"/>
                </a:lnTo>
                <a:close/>
              </a:path>
            </a:pathLst>
          </a:custGeom>
          <a:solidFill>
            <a:schemeClr val="bg2"/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587600" y="6350169"/>
            <a:ext cx="8251344" cy="1015663"/>
          </a:xfrm>
        </p:spPr>
        <p:txBody>
          <a:bodyPr vert="horz" tIns="0" anchor="ctr" anchorCtr="0">
            <a:sp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66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9" name="Freeform 38"/>
          <p:cNvSpPr/>
          <p:nvPr userDrawn="1"/>
        </p:nvSpPr>
        <p:spPr>
          <a:xfrm rot="2700000">
            <a:off x="13229666" y="-708535"/>
            <a:ext cx="15112396" cy="15303055"/>
          </a:xfrm>
          <a:custGeom>
            <a:avLst/>
            <a:gdLst>
              <a:gd name="connsiteX0" fmla="*/ 1 w 15112396"/>
              <a:gd name="connsiteY0" fmla="*/ 5239640 h 15303055"/>
              <a:gd name="connsiteX1" fmla="*/ 5239641 w 15112396"/>
              <a:gd name="connsiteY1" fmla="*/ 0 h 15303055"/>
              <a:gd name="connsiteX2" fmla="*/ 15112396 w 15112396"/>
              <a:gd name="connsiteY2" fmla="*/ 9872755 h 15303055"/>
              <a:gd name="connsiteX3" fmla="*/ 9682096 w 15112396"/>
              <a:gd name="connsiteY3" fmla="*/ 15303055 h 15303055"/>
              <a:gd name="connsiteX4" fmla="*/ 6468022 w 15112396"/>
              <a:gd name="connsiteY4" fmla="*/ 15303055 h 15303055"/>
              <a:gd name="connsiteX5" fmla="*/ 0 w 15112396"/>
              <a:gd name="connsiteY5" fmla="*/ 8835035 h 1530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12396" h="15303055">
                <a:moveTo>
                  <a:pt x="1" y="5239640"/>
                </a:moveTo>
                <a:lnTo>
                  <a:pt x="5239641" y="0"/>
                </a:lnTo>
                <a:lnTo>
                  <a:pt x="15112396" y="9872755"/>
                </a:lnTo>
                <a:lnTo>
                  <a:pt x="9682096" y="15303055"/>
                </a:lnTo>
                <a:lnTo>
                  <a:pt x="6468022" y="15303055"/>
                </a:lnTo>
                <a:cubicBezTo>
                  <a:pt x="2895832" y="15303055"/>
                  <a:pt x="0" y="12407224"/>
                  <a:pt x="0" y="8835035"/>
                </a:cubicBezTo>
                <a:close/>
              </a:path>
            </a:pathLst>
          </a:custGeom>
          <a:noFill/>
          <a:ln w="571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 rot="1381710">
            <a:off x="13399182" y="1854800"/>
            <a:ext cx="1710913" cy="1710913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 rot="20610833">
            <a:off x="11688268" y="5705734"/>
            <a:ext cx="1710913" cy="1710913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 rot="1374809">
            <a:off x="12946037" y="9556669"/>
            <a:ext cx="1710913" cy="1710913"/>
          </a:xfrm>
          <a:prstGeom prst="roundRect">
            <a:avLst>
              <a:gd name="adj" fmla="val 3167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2800">
              <a:ln w="0"/>
              <a:solidFill>
                <a:schemeClr val="tx1"/>
              </a:solidFill>
            </a:endParaRP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5"/>
          </p:nvPr>
        </p:nvSpPr>
        <p:spPr>
          <a:xfrm>
            <a:off x="15829098" y="1854800"/>
            <a:ext cx="6990650" cy="2739211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6"/>
          </p:nvPr>
        </p:nvSpPr>
        <p:spPr>
          <a:xfrm>
            <a:off x="14077860" y="5757030"/>
            <a:ext cx="7456260" cy="2739211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360045" marR="0" lvl="2" indent="-360045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720090" lvl="3" indent="-360045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7"/>
          </p:nvPr>
        </p:nvSpPr>
        <p:spPr>
          <a:xfrm>
            <a:off x="15829098" y="9556669"/>
            <a:ext cx="6990650" cy="2739211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>
              <a:lnSpc>
                <a:spcPct val="100000"/>
              </a:lnSpc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360045" marR="0" lvl="2" indent="-360045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720090" lvl="3" indent="-360045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Picture Placeholder 11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3714638" y="2170256"/>
            <a:ext cx="108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34" name="Picture Placeholder 11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1951757" y="6021190"/>
            <a:ext cx="108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13261493" y="9872125"/>
            <a:ext cx="108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ICON</a:t>
            </a:r>
            <a:endParaRPr lang="en-GB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графика и 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 userDrawn="1"/>
        </p:nvSpPr>
        <p:spPr>
          <a:xfrm>
            <a:off x="12776412" y="3497824"/>
            <a:ext cx="10044000" cy="8863510"/>
          </a:xfrm>
          <a:prstGeom prst="roundRect">
            <a:avLst>
              <a:gd name="adj" fmla="val 849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400">
              <a:lnSpc>
                <a:spcPct val="90000"/>
              </a:lnSpc>
            </a:pPr>
            <a:endParaRPr lang="en-US" sz="1600">
              <a:ln w="0"/>
              <a:solidFill>
                <a:schemeClr val="tx1"/>
              </a:solidFill>
              <a:latin typeface="Arial"/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1571225" y="3497824"/>
            <a:ext cx="10044000" cy="8863510"/>
          </a:xfrm>
          <a:prstGeom prst="roundRect">
            <a:avLst>
              <a:gd name="adj" fmla="val 849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400">
              <a:lnSpc>
                <a:spcPct val="90000"/>
              </a:lnSpc>
            </a:pPr>
            <a:endParaRPr lang="en-US" sz="1600">
              <a:ln w="0"/>
              <a:solidFill>
                <a:schemeClr val="tx1"/>
              </a:solidFill>
              <a:latin typeface="Arial"/>
            </a:endParaRPr>
          </a:p>
        </p:txBody>
      </p:sp>
      <p:sp>
        <p:nvSpPr>
          <p:cNvPr id="46" name="Chart Placeholder 45"/>
          <p:cNvSpPr>
            <a:spLocks noGrp="1"/>
          </p:cNvSpPr>
          <p:nvPr>
            <p:ph type="chart" sz="quarter" idx="11"/>
          </p:nvPr>
        </p:nvSpPr>
        <p:spPr>
          <a:xfrm>
            <a:off x="2301874" y="5458886"/>
            <a:ext cx="8627382" cy="368304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3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8" name="Прямая со стрелкой 35"/>
          <p:cNvCxnSpPr/>
          <p:nvPr userDrawn="1"/>
        </p:nvCxnSpPr>
        <p:spPr>
          <a:xfrm>
            <a:off x="2301874" y="9570747"/>
            <a:ext cx="8627382" cy="0"/>
          </a:xfrm>
          <a:prstGeom prst="straightConnector1">
            <a:avLst/>
          </a:prstGeom>
          <a:ln w="19050" cmpd="sng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Chart Placeholder 45"/>
          <p:cNvSpPr>
            <a:spLocks noGrp="1"/>
          </p:cNvSpPr>
          <p:nvPr>
            <p:ph type="chart" sz="quarter" idx="15"/>
          </p:nvPr>
        </p:nvSpPr>
        <p:spPr>
          <a:xfrm>
            <a:off x="13497837" y="5458886"/>
            <a:ext cx="8627382" cy="368304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cxnSp>
        <p:nvCxnSpPr>
          <p:cNvPr id="60" name="Прямая со стрелкой 35"/>
          <p:cNvCxnSpPr/>
          <p:nvPr userDrawn="1"/>
        </p:nvCxnSpPr>
        <p:spPr>
          <a:xfrm>
            <a:off x="13497837" y="9570748"/>
            <a:ext cx="8627382" cy="0"/>
          </a:xfrm>
          <a:prstGeom prst="straightConnector1">
            <a:avLst/>
          </a:prstGeom>
          <a:ln w="19050" cmpd="sng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 Placeholder 65"/>
          <p:cNvSpPr>
            <a:spLocks noGrp="1"/>
          </p:cNvSpPr>
          <p:nvPr>
            <p:ph type="body" sz="quarter" idx="20" hasCustomPrompt="1"/>
          </p:nvPr>
        </p:nvSpPr>
        <p:spPr>
          <a:xfrm>
            <a:off x="2301875" y="4033310"/>
            <a:ext cx="862738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32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69" name="Text Placeholder 65"/>
          <p:cNvSpPr>
            <a:spLocks noGrp="1"/>
          </p:cNvSpPr>
          <p:nvPr>
            <p:ph type="body" sz="quarter" idx="22" hasCustomPrompt="1"/>
          </p:nvPr>
        </p:nvSpPr>
        <p:spPr>
          <a:xfrm>
            <a:off x="13497837" y="4033310"/>
            <a:ext cx="862738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32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301874" y="9999565"/>
            <a:ext cx="8627382" cy="2462213"/>
          </a:xfrm>
        </p:spPr>
        <p:txBody>
          <a:bodyPr wrap="square">
            <a:sp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24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13497837" y="9999565"/>
            <a:ext cx="8627382" cy="2462213"/>
          </a:xfrm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>
              <a:spcAft>
                <a:spcPts val="1200"/>
              </a:spcAft>
              <a:defRPr sz="2400"/>
            </a:lvl2pPr>
            <a:lvl3pPr marL="288290" indent="-288290"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3pPr>
            <a:lvl4pPr marL="575945" indent="-288290">
              <a:spcAft>
                <a:spcPts val="1200"/>
              </a:spcAft>
              <a:defRPr lang="en-GB" sz="2400" b="0" i="0" kern="1200" dirty="0">
                <a:solidFill>
                  <a:schemeClr val="tx1"/>
                </a:solidFill>
                <a:latin typeface="YS Text Light" pitchFamily="2" charset="77"/>
                <a:ea typeface="+mn-ea"/>
                <a:cs typeface="+mn-cs"/>
              </a:defRPr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marL="360045" marR="0" lvl="2" indent="-360045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80604020202020204" pitchFamily="34" charset="0"/>
              <a:buChar char="•"/>
            </a:pPr>
            <a:r>
              <a:rPr lang="en-GB" dirty="0"/>
              <a:t>Third level</a:t>
            </a:r>
          </a:p>
          <a:p>
            <a:pPr marL="720090" lvl="3" indent="-360045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System Font Regular"/>
              <a:buChar char="−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графика и метри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ounded Rectangle 25"/>
          <p:cNvSpPr/>
          <p:nvPr userDrawn="1"/>
        </p:nvSpPr>
        <p:spPr>
          <a:xfrm>
            <a:off x="12776412" y="3497824"/>
            <a:ext cx="10044000" cy="8863510"/>
          </a:xfrm>
          <a:prstGeom prst="roundRect">
            <a:avLst>
              <a:gd name="adj" fmla="val 849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400">
              <a:lnSpc>
                <a:spcPct val="90000"/>
              </a:lnSpc>
            </a:pPr>
            <a:endParaRPr lang="en-US" sz="1600">
              <a:ln w="0"/>
              <a:solidFill>
                <a:schemeClr val="tx1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1571225" y="3497824"/>
            <a:ext cx="10044000" cy="8863510"/>
          </a:xfrm>
          <a:prstGeom prst="roundRect">
            <a:avLst>
              <a:gd name="adj" fmla="val 849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400">
              <a:lnSpc>
                <a:spcPct val="90000"/>
              </a:lnSpc>
            </a:pPr>
            <a:endParaRPr lang="en-US" sz="1600">
              <a:ln w="0"/>
              <a:solidFill>
                <a:schemeClr val="tx1"/>
              </a:solidFill>
              <a:latin typeface="Arial"/>
            </a:endParaRPr>
          </a:p>
        </p:txBody>
      </p:sp>
      <p:sp>
        <p:nvSpPr>
          <p:cNvPr id="46" name="Chart Placeholder 45"/>
          <p:cNvSpPr>
            <a:spLocks noGrp="1"/>
          </p:cNvSpPr>
          <p:nvPr>
            <p:ph type="chart" sz="quarter" idx="11"/>
          </p:nvPr>
        </p:nvSpPr>
        <p:spPr>
          <a:xfrm>
            <a:off x="2301874" y="7869920"/>
            <a:ext cx="8627382" cy="409779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3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6" name="Text Placeholder 65"/>
          <p:cNvSpPr>
            <a:spLocks noGrp="1"/>
          </p:cNvSpPr>
          <p:nvPr>
            <p:ph type="body" sz="quarter" idx="20" hasCustomPrompt="1"/>
          </p:nvPr>
        </p:nvSpPr>
        <p:spPr>
          <a:xfrm>
            <a:off x="2301875" y="4033311"/>
            <a:ext cx="862738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32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301875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5284560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8267245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52" name="Chart Placeholder 45"/>
          <p:cNvSpPr>
            <a:spLocks noGrp="1"/>
          </p:cNvSpPr>
          <p:nvPr>
            <p:ph type="chart" sz="quarter" idx="26"/>
          </p:nvPr>
        </p:nvSpPr>
        <p:spPr>
          <a:xfrm>
            <a:off x="13559945" y="7869920"/>
            <a:ext cx="8627382" cy="4097791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7" name="Text Placeholder 65"/>
          <p:cNvSpPr>
            <a:spLocks noGrp="1"/>
          </p:cNvSpPr>
          <p:nvPr>
            <p:ph type="body" sz="quarter" idx="28" hasCustomPrompt="1"/>
          </p:nvPr>
        </p:nvSpPr>
        <p:spPr>
          <a:xfrm>
            <a:off x="13559946" y="4033311"/>
            <a:ext cx="862738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32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3559946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6542631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9525316" y="5427665"/>
            <a:ext cx="1682750" cy="738664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800"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ХХ%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2301874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35"/>
          </p:nvPr>
        </p:nvSpPr>
        <p:spPr>
          <a:xfrm>
            <a:off x="5284560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6"/>
          </p:nvPr>
        </p:nvSpPr>
        <p:spPr>
          <a:xfrm>
            <a:off x="8267245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7"/>
          </p:nvPr>
        </p:nvSpPr>
        <p:spPr>
          <a:xfrm>
            <a:off x="13559946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8"/>
          </p:nvPr>
        </p:nvSpPr>
        <p:spPr>
          <a:xfrm>
            <a:off x="16542631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9"/>
          </p:nvPr>
        </p:nvSpPr>
        <p:spPr>
          <a:xfrm>
            <a:off x="19525316" y="6360974"/>
            <a:ext cx="2662012" cy="2072362"/>
          </a:xfrm>
        </p:spPr>
        <p:txBody>
          <a:bodyPr>
            <a:spAutoFit/>
          </a:bodyPr>
          <a:lstStyle>
            <a:lvl1pPr>
              <a:spcAft>
                <a:spcPts val="800"/>
              </a:spcAft>
              <a:defRPr sz="1800"/>
            </a:lvl1pPr>
            <a:lvl2pPr>
              <a:spcAft>
                <a:spcPts val="800"/>
              </a:spcAft>
              <a:defRPr sz="1800"/>
            </a:lvl2pPr>
            <a:lvl3pPr marL="288290" indent="-288290">
              <a:spcAft>
                <a:spcPts val="800"/>
              </a:spcAft>
              <a:defRPr sz="1800"/>
            </a:lvl3pPr>
            <a:lvl4pPr marL="575945" indent="-288290">
              <a:spcAft>
                <a:spcPts val="800"/>
              </a:spcAft>
              <a:defRPr sz="1800"/>
            </a:lvl4pPr>
            <a:lvl5pPr>
              <a:spcAft>
                <a:spcPts val="800"/>
              </a:spcAft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ounded Rectangle 186"/>
          <p:cNvSpPr/>
          <p:nvPr userDrawn="1"/>
        </p:nvSpPr>
        <p:spPr>
          <a:xfrm>
            <a:off x="1590092" y="2367831"/>
            <a:ext cx="10278816" cy="4804255"/>
          </a:xfrm>
          <a:prstGeom prst="roundRect">
            <a:avLst>
              <a:gd name="adj" fmla="val 11440"/>
            </a:avLst>
          </a:prstGeom>
          <a:solidFill>
            <a:schemeClr val="bg1"/>
          </a:solidFill>
          <a:ln w="19050">
            <a:noFill/>
          </a:ln>
          <a:effectLst>
            <a:outerShdw blurRad="762000" dist="381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251999" rIns="0" bIns="0" rtlCol="0" anchor="t" anchorCtr="0">
            <a:noAutofit/>
          </a:bodyPr>
          <a:lstStyle/>
          <a:p>
            <a:pPr defTabSz="1828165">
              <a:lnSpc>
                <a:spcPct val="90000"/>
              </a:lnSpc>
            </a:pPr>
            <a:endParaRPr lang="en-GB" sz="2400" dirty="0">
              <a:ln w="0"/>
              <a:solidFill>
                <a:schemeClr val="tx2"/>
              </a:solidFill>
              <a:cs typeface="Arial" panose="02080604020202020204" pitchFamily="34" charset="0"/>
            </a:endParaRPr>
          </a:p>
        </p:txBody>
      </p:sp>
      <p:sp>
        <p:nvSpPr>
          <p:cNvPr id="30" name="Rounded Rectangle 186"/>
          <p:cNvSpPr/>
          <p:nvPr userDrawn="1"/>
        </p:nvSpPr>
        <p:spPr>
          <a:xfrm>
            <a:off x="1590092" y="7877048"/>
            <a:ext cx="10278816" cy="4804255"/>
          </a:xfrm>
          <a:prstGeom prst="roundRect">
            <a:avLst>
              <a:gd name="adj" fmla="val 11440"/>
            </a:avLst>
          </a:prstGeom>
          <a:solidFill>
            <a:schemeClr val="bg1"/>
          </a:solidFill>
          <a:ln w="19050">
            <a:noFill/>
          </a:ln>
          <a:effectLst>
            <a:outerShdw blurRad="762000" dist="381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251999" rIns="0" bIns="0" rtlCol="0" anchor="t" anchorCtr="0">
            <a:noAutofit/>
          </a:bodyPr>
          <a:lstStyle/>
          <a:p>
            <a:pPr defTabSz="1828165">
              <a:lnSpc>
                <a:spcPct val="90000"/>
              </a:lnSpc>
            </a:pPr>
            <a:endParaRPr lang="en-GB" sz="2400" dirty="0">
              <a:ln w="0"/>
              <a:solidFill>
                <a:schemeClr val="tx2"/>
              </a:solidFill>
              <a:cs typeface="Arial" panose="02080604020202020204" pitchFamily="34" charset="0"/>
            </a:endParaRPr>
          </a:p>
        </p:txBody>
      </p:sp>
      <p:sp>
        <p:nvSpPr>
          <p:cNvPr id="31" name="Rounded Rectangle 186"/>
          <p:cNvSpPr/>
          <p:nvPr userDrawn="1"/>
        </p:nvSpPr>
        <p:spPr>
          <a:xfrm>
            <a:off x="12541596" y="2367831"/>
            <a:ext cx="10278816" cy="4804255"/>
          </a:xfrm>
          <a:prstGeom prst="roundRect">
            <a:avLst>
              <a:gd name="adj" fmla="val 11440"/>
            </a:avLst>
          </a:prstGeom>
          <a:solidFill>
            <a:schemeClr val="bg1"/>
          </a:solidFill>
          <a:ln w="19050">
            <a:noFill/>
          </a:ln>
          <a:effectLst>
            <a:outerShdw blurRad="762000" dist="381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251999" rIns="0" bIns="0" rtlCol="0" anchor="t" anchorCtr="0">
            <a:noAutofit/>
          </a:bodyPr>
          <a:lstStyle/>
          <a:p>
            <a:pPr defTabSz="1828165">
              <a:lnSpc>
                <a:spcPct val="90000"/>
              </a:lnSpc>
            </a:pPr>
            <a:endParaRPr lang="en-GB" sz="2400" dirty="0">
              <a:ln w="0"/>
              <a:solidFill>
                <a:schemeClr val="tx2"/>
              </a:solidFill>
              <a:cs typeface="Arial" panose="02080604020202020204" pitchFamily="34" charset="0"/>
            </a:endParaRPr>
          </a:p>
        </p:txBody>
      </p:sp>
      <p:sp>
        <p:nvSpPr>
          <p:cNvPr id="32" name="Rounded Rectangle 186"/>
          <p:cNvSpPr/>
          <p:nvPr userDrawn="1"/>
        </p:nvSpPr>
        <p:spPr>
          <a:xfrm>
            <a:off x="12541596" y="7877048"/>
            <a:ext cx="10278816" cy="4804255"/>
          </a:xfrm>
          <a:prstGeom prst="roundRect">
            <a:avLst>
              <a:gd name="adj" fmla="val 11440"/>
            </a:avLst>
          </a:prstGeom>
          <a:solidFill>
            <a:schemeClr val="bg1"/>
          </a:solidFill>
          <a:ln w="19050">
            <a:noFill/>
          </a:ln>
          <a:effectLst>
            <a:outerShdw blurRad="762000" dist="381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1999" tIns="251999" rIns="0" bIns="0" rtlCol="0" anchor="t" anchorCtr="0">
            <a:noAutofit/>
          </a:bodyPr>
          <a:lstStyle/>
          <a:p>
            <a:pPr defTabSz="1828165">
              <a:lnSpc>
                <a:spcPct val="90000"/>
              </a:lnSpc>
            </a:pPr>
            <a:endParaRPr lang="en-GB" sz="2400" dirty="0">
              <a:ln w="0"/>
              <a:solidFill>
                <a:schemeClr val="tx2"/>
              </a:solidFill>
              <a:cs typeface="Arial" panose="02080604020202020204" pitchFamily="34" charset="0"/>
            </a:endParaRPr>
          </a:p>
        </p:txBody>
      </p:sp>
      <p:sp>
        <p:nvSpPr>
          <p:cNvPr id="5" name="Заголовок 3"/>
          <p:cNvSpPr>
            <a:spLocks noGrp="1"/>
          </p:cNvSpPr>
          <p:nvPr userDrawn="1">
            <p:ph type="title" hasCustomPrompt="1"/>
          </p:nvPr>
        </p:nvSpPr>
        <p:spPr>
          <a:xfrm>
            <a:off x="1587600" y="740443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ext Placeholder 65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2236305" y="2908110"/>
            <a:ext cx="898639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28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34" name="Chart Placeholder 45"/>
          <p:cNvSpPr>
            <a:spLocks noGrp="1"/>
          </p:cNvSpPr>
          <p:nvPr userDrawn="1">
            <p:ph type="chart" sz="quarter" idx="21"/>
          </p:nvPr>
        </p:nvSpPr>
        <p:spPr>
          <a:xfrm>
            <a:off x="2236304" y="3804712"/>
            <a:ext cx="8986392" cy="293678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39" name="Chart Placeholder 45"/>
          <p:cNvSpPr>
            <a:spLocks noGrp="1"/>
          </p:cNvSpPr>
          <p:nvPr userDrawn="1">
            <p:ph type="chart" sz="quarter" idx="24"/>
          </p:nvPr>
        </p:nvSpPr>
        <p:spPr>
          <a:xfrm>
            <a:off x="13187808" y="3804712"/>
            <a:ext cx="8986392" cy="293678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36" name="Chart Placeholder 45"/>
          <p:cNvSpPr>
            <a:spLocks noGrp="1"/>
          </p:cNvSpPr>
          <p:nvPr userDrawn="1">
            <p:ph type="chart" sz="quarter" idx="22"/>
          </p:nvPr>
        </p:nvSpPr>
        <p:spPr>
          <a:xfrm>
            <a:off x="13187808" y="9379930"/>
            <a:ext cx="8986392" cy="29376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6" name="Chart Placeholder 45"/>
          <p:cNvSpPr>
            <a:spLocks noGrp="1"/>
          </p:cNvSpPr>
          <p:nvPr userDrawn="1">
            <p:ph type="chart" sz="quarter" idx="11"/>
          </p:nvPr>
        </p:nvSpPr>
        <p:spPr>
          <a:xfrm>
            <a:off x="2236304" y="9379930"/>
            <a:ext cx="8986392" cy="29376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65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3187809" y="2908110"/>
            <a:ext cx="898639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28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26" name="Text Placeholder 65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236305" y="8385357"/>
            <a:ext cx="898639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28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  <p:sp>
        <p:nvSpPr>
          <p:cNvPr id="27" name="Text Placeholder 65"/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13187809" y="8385357"/>
            <a:ext cx="898639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  <a:lvl2pPr>
              <a:defRPr sz="3200">
                <a:latin typeface="+mj-lt"/>
              </a:defRPr>
            </a:lvl2pPr>
            <a:lvl3pPr marL="0" indent="0">
              <a:spcBef>
                <a:spcPts val="1400"/>
              </a:spcBef>
              <a:buSzPct val="100000"/>
              <a:buNone/>
              <a:defRPr sz="2800">
                <a:latin typeface="+mj-lt"/>
              </a:defRPr>
            </a:lvl3pPr>
            <a:lvl4pPr>
              <a:defRPr sz="32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marL="0" lvl="2" indent="0">
              <a:spcBef>
                <a:spcPts val="1400"/>
              </a:spcBef>
              <a:buSzPct val="100000"/>
              <a:buNone/>
            </a:pPr>
            <a:r>
              <a:rPr lang="en-US" dirty="0">
                <a:latin typeface="YS Text Medium" pitchFamily="2" charset="77"/>
              </a:rPr>
              <a:t>Title</a:t>
            </a:r>
            <a:endParaRPr lang="ru-RU" dirty="0">
              <a:latin typeface="YS Text Light" pitchFamily="2" charset="77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Яндекс Про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10061096"/>
            <a:ext cx="12418695" cy="1818167"/>
          </a:xfrm>
          <a:prstGeom prst="rect">
            <a:avLst/>
          </a:prstGeom>
        </p:spPr>
        <p:txBody>
          <a:bodyPr lIns="0" tIns="0" rIns="0" bIns="251999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 baseline="0">
                <a:latin typeface="YS Text Light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ru-RU"/>
              <a:t>Имя и Фамилия, должность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065780" y="4434055"/>
            <a:ext cx="12418695" cy="3426766"/>
          </a:xfrm>
        </p:spPr>
        <p:txBody>
          <a:bodyPr vert="horz" tIns="216000" rIns="0" anchor="ctr" anchorCtr="0">
            <a:noAutofit/>
          </a:bodyPr>
          <a:lstStyle>
            <a:lvl1pPr marL="0" marR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0" b="0" i="0">
                <a:latin typeface="YS Text Medium" pitchFamily="2" charset="77"/>
              </a:defRPr>
            </a:lvl1pPr>
          </a:lstStyle>
          <a:p>
            <a:r>
              <a:rPr lang="ru-RU"/>
              <a:t>Заголовок презентации</a:t>
            </a:r>
            <a:endParaRPr lang="en-US"/>
          </a:p>
        </p:txBody>
      </p:sp>
      <p:pic>
        <p:nvPicPr>
          <p:cNvPr id="5" name="Graphic 22" descr="Graphic 2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65780" y="1981012"/>
            <a:ext cx="4154191" cy="761602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график и выводы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 userDrawn="1"/>
        </p:nvSpPr>
        <p:spPr>
          <a:xfrm rot="5400000" flipV="1">
            <a:off x="1801020" y="-1801017"/>
            <a:ext cx="13716000" cy="17318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20" name="Chart Placeholder 45"/>
          <p:cNvSpPr>
            <a:spLocks noGrp="1"/>
          </p:cNvSpPr>
          <p:nvPr>
            <p:ph type="chart" sz="quarter" idx="21"/>
          </p:nvPr>
        </p:nvSpPr>
        <p:spPr>
          <a:xfrm>
            <a:off x="1587599" y="3336699"/>
            <a:ext cx="14633475" cy="904775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14950016" cy="10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6" hasCustomPrompt="1"/>
          </p:nvPr>
        </p:nvSpPr>
        <p:spPr>
          <a:xfrm>
            <a:off x="18418175" y="736663"/>
            <a:ext cx="2916237" cy="11236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9" hasCustomPrompt="1"/>
          </p:nvPr>
        </p:nvSpPr>
        <p:spPr>
          <a:xfrm>
            <a:off x="18418175" y="4877014"/>
            <a:ext cx="2916237" cy="11236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7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8418175" y="9017365"/>
            <a:ext cx="2916237" cy="11236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2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  <a:r>
              <a:rPr lang="ru-RU" dirty="0"/>
              <a:t>%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18418175" y="2090636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57"/>
          </p:nvPr>
        </p:nvSpPr>
        <p:spPr>
          <a:xfrm>
            <a:off x="18418175" y="6230987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58"/>
          </p:nvPr>
        </p:nvSpPr>
        <p:spPr>
          <a:xfrm>
            <a:off x="18418175" y="10371338"/>
            <a:ext cx="4028123" cy="3108543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400"/>
            </a:lvl1pPr>
            <a:lvl2pPr>
              <a:spcAft>
                <a:spcPts val="18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графии команды_32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Picture Placeholder 51"/>
          <p:cNvSpPr>
            <a:spLocks noGrp="1" noChangeAspect="1"/>
          </p:cNvSpPr>
          <p:nvPr>
            <p:ph type="pic" sz="quarter" idx="43"/>
          </p:nvPr>
        </p:nvSpPr>
        <p:spPr>
          <a:xfrm>
            <a:off x="1622785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Picture Placeholder 52"/>
          <p:cNvSpPr>
            <a:spLocks noGrp="1" noChangeAspect="1"/>
          </p:cNvSpPr>
          <p:nvPr>
            <p:ph type="pic" sz="quarter" idx="44"/>
          </p:nvPr>
        </p:nvSpPr>
        <p:spPr>
          <a:xfrm>
            <a:off x="20880727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4" name="Picture Placeholder 53"/>
          <p:cNvSpPr>
            <a:spLocks noGrp="1" noChangeAspect="1"/>
          </p:cNvSpPr>
          <p:nvPr>
            <p:ph type="pic" sz="quarter" idx="45"/>
          </p:nvPr>
        </p:nvSpPr>
        <p:spPr>
          <a:xfrm>
            <a:off x="4375376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5" name="Picture Placeholder 54"/>
          <p:cNvSpPr>
            <a:spLocks noGrp="1" noChangeAspect="1"/>
          </p:cNvSpPr>
          <p:nvPr>
            <p:ph type="pic" sz="quarter" idx="46"/>
          </p:nvPr>
        </p:nvSpPr>
        <p:spPr>
          <a:xfrm>
            <a:off x="7127967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Picture Placeholder 55"/>
          <p:cNvSpPr>
            <a:spLocks noGrp="1" noChangeAspect="1"/>
          </p:cNvSpPr>
          <p:nvPr>
            <p:ph type="pic" sz="quarter" idx="47"/>
          </p:nvPr>
        </p:nvSpPr>
        <p:spPr>
          <a:xfrm>
            <a:off x="9880558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7" name="Picture Placeholder 56"/>
          <p:cNvSpPr>
            <a:spLocks noGrp="1" noChangeAspect="1"/>
          </p:cNvSpPr>
          <p:nvPr>
            <p:ph type="pic" sz="quarter" idx="48"/>
          </p:nvPr>
        </p:nvSpPr>
        <p:spPr>
          <a:xfrm>
            <a:off x="12633149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8" name="Picture Placeholder 57"/>
          <p:cNvSpPr>
            <a:spLocks noGrp="1" noChangeAspect="1"/>
          </p:cNvSpPr>
          <p:nvPr>
            <p:ph type="pic" sz="quarter" idx="49"/>
          </p:nvPr>
        </p:nvSpPr>
        <p:spPr>
          <a:xfrm>
            <a:off x="15385740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9" name="Picture Placeholder 58"/>
          <p:cNvSpPr>
            <a:spLocks noGrp="1" noChangeAspect="1"/>
          </p:cNvSpPr>
          <p:nvPr>
            <p:ph type="pic" sz="quarter" idx="50"/>
          </p:nvPr>
        </p:nvSpPr>
        <p:spPr>
          <a:xfrm>
            <a:off x="18138331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0" name="Picture Placeholder 59"/>
          <p:cNvSpPr>
            <a:spLocks noGrp="1" noChangeAspect="1"/>
          </p:cNvSpPr>
          <p:nvPr>
            <p:ph type="pic" sz="quarter" idx="51"/>
          </p:nvPr>
        </p:nvSpPr>
        <p:spPr>
          <a:xfrm>
            <a:off x="20890920" y="2689543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1" name="Picture Placeholder 60"/>
          <p:cNvSpPr>
            <a:spLocks noGrp="1" noChangeAspect="1"/>
          </p:cNvSpPr>
          <p:nvPr>
            <p:ph type="pic" sz="quarter" idx="52"/>
          </p:nvPr>
        </p:nvSpPr>
        <p:spPr>
          <a:xfrm>
            <a:off x="1622785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2" name="Picture Placeholder 61"/>
          <p:cNvSpPr>
            <a:spLocks noGrp="1" noChangeAspect="1"/>
          </p:cNvSpPr>
          <p:nvPr>
            <p:ph type="pic" sz="quarter" idx="53"/>
          </p:nvPr>
        </p:nvSpPr>
        <p:spPr>
          <a:xfrm>
            <a:off x="4375376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3" name="Picture Placeholder 62"/>
          <p:cNvSpPr>
            <a:spLocks noGrp="1" noChangeAspect="1"/>
          </p:cNvSpPr>
          <p:nvPr>
            <p:ph type="pic" sz="quarter" idx="54"/>
          </p:nvPr>
        </p:nvSpPr>
        <p:spPr>
          <a:xfrm>
            <a:off x="7127967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4" name="Picture Placeholder 63"/>
          <p:cNvSpPr>
            <a:spLocks noGrp="1" noChangeAspect="1"/>
          </p:cNvSpPr>
          <p:nvPr>
            <p:ph type="pic" sz="quarter" idx="55"/>
          </p:nvPr>
        </p:nvSpPr>
        <p:spPr>
          <a:xfrm>
            <a:off x="9880558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5" name="Picture Placeholder 64"/>
          <p:cNvSpPr>
            <a:spLocks noGrp="1" noChangeAspect="1"/>
          </p:cNvSpPr>
          <p:nvPr>
            <p:ph type="pic" sz="quarter" idx="56"/>
          </p:nvPr>
        </p:nvSpPr>
        <p:spPr>
          <a:xfrm>
            <a:off x="12633149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6" name="Picture Placeholder 65"/>
          <p:cNvSpPr>
            <a:spLocks noGrp="1" noChangeAspect="1"/>
          </p:cNvSpPr>
          <p:nvPr>
            <p:ph type="pic" sz="quarter" idx="57"/>
          </p:nvPr>
        </p:nvSpPr>
        <p:spPr>
          <a:xfrm>
            <a:off x="15385740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7" name="Picture Placeholder 66"/>
          <p:cNvSpPr>
            <a:spLocks noGrp="1" noChangeAspect="1"/>
          </p:cNvSpPr>
          <p:nvPr>
            <p:ph type="pic" sz="quarter" idx="58"/>
          </p:nvPr>
        </p:nvSpPr>
        <p:spPr>
          <a:xfrm>
            <a:off x="18138331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8" name="Picture Placeholder 67"/>
          <p:cNvSpPr>
            <a:spLocks noGrp="1" noChangeAspect="1"/>
          </p:cNvSpPr>
          <p:nvPr>
            <p:ph type="pic" sz="quarter" idx="59"/>
          </p:nvPr>
        </p:nvSpPr>
        <p:spPr>
          <a:xfrm>
            <a:off x="20890920" y="5319072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9" name="Picture Placeholder 68"/>
          <p:cNvSpPr>
            <a:spLocks noGrp="1" noChangeAspect="1"/>
          </p:cNvSpPr>
          <p:nvPr>
            <p:ph type="pic" sz="quarter" idx="60"/>
          </p:nvPr>
        </p:nvSpPr>
        <p:spPr>
          <a:xfrm>
            <a:off x="1622785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0" name="Picture Placeholder 69"/>
          <p:cNvSpPr>
            <a:spLocks noGrp="1" noChangeAspect="1"/>
          </p:cNvSpPr>
          <p:nvPr>
            <p:ph type="pic" sz="quarter" idx="61"/>
          </p:nvPr>
        </p:nvSpPr>
        <p:spPr>
          <a:xfrm>
            <a:off x="4375376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1" name="Picture Placeholder 70"/>
          <p:cNvSpPr>
            <a:spLocks noGrp="1" noChangeAspect="1"/>
          </p:cNvSpPr>
          <p:nvPr>
            <p:ph type="pic" sz="quarter" idx="62"/>
          </p:nvPr>
        </p:nvSpPr>
        <p:spPr>
          <a:xfrm>
            <a:off x="7127967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2" name="Picture Placeholder 71"/>
          <p:cNvSpPr>
            <a:spLocks noGrp="1" noChangeAspect="1"/>
          </p:cNvSpPr>
          <p:nvPr>
            <p:ph type="pic" sz="quarter" idx="63"/>
          </p:nvPr>
        </p:nvSpPr>
        <p:spPr>
          <a:xfrm>
            <a:off x="9880558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3" name="Picture Placeholder 72"/>
          <p:cNvSpPr>
            <a:spLocks noGrp="1" noChangeAspect="1"/>
          </p:cNvSpPr>
          <p:nvPr>
            <p:ph type="pic" sz="quarter" idx="64"/>
          </p:nvPr>
        </p:nvSpPr>
        <p:spPr>
          <a:xfrm>
            <a:off x="12633149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4" name="Picture Placeholder 73"/>
          <p:cNvSpPr>
            <a:spLocks noGrp="1" noChangeAspect="1"/>
          </p:cNvSpPr>
          <p:nvPr>
            <p:ph type="pic" sz="quarter" idx="65"/>
          </p:nvPr>
        </p:nvSpPr>
        <p:spPr>
          <a:xfrm>
            <a:off x="15385740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5" name="Picture Placeholder 74"/>
          <p:cNvSpPr>
            <a:spLocks noGrp="1" noChangeAspect="1"/>
          </p:cNvSpPr>
          <p:nvPr>
            <p:ph type="pic" sz="quarter" idx="66"/>
          </p:nvPr>
        </p:nvSpPr>
        <p:spPr>
          <a:xfrm>
            <a:off x="18138331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6" name="Picture Placeholder 75"/>
          <p:cNvSpPr>
            <a:spLocks noGrp="1" noChangeAspect="1"/>
          </p:cNvSpPr>
          <p:nvPr>
            <p:ph type="pic" sz="quarter" idx="67"/>
          </p:nvPr>
        </p:nvSpPr>
        <p:spPr>
          <a:xfrm>
            <a:off x="20890920" y="7948601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7" name="Picture Placeholder 76"/>
          <p:cNvSpPr>
            <a:spLocks noGrp="1" noChangeAspect="1"/>
          </p:cNvSpPr>
          <p:nvPr>
            <p:ph type="pic" sz="quarter" idx="68"/>
          </p:nvPr>
        </p:nvSpPr>
        <p:spPr>
          <a:xfrm>
            <a:off x="1622785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8" name="Picture Placeholder 77"/>
          <p:cNvSpPr>
            <a:spLocks noGrp="1" noChangeAspect="1"/>
          </p:cNvSpPr>
          <p:nvPr>
            <p:ph type="pic" sz="quarter" idx="69"/>
          </p:nvPr>
        </p:nvSpPr>
        <p:spPr>
          <a:xfrm>
            <a:off x="4375376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79" name="Picture Placeholder 78"/>
          <p:cNvSpPr>
            <a:spLocks noGrp="1" noChangeAspect="1"/>
          </p:cNvSpPr>
          <p:nvPr>
            <p:ph type="pic" sz="quarter" idx="70"/>
          </p:nvPr>
        </p:nvSpPr>
        <p:spPr>
          <a:xfrm>
            <a:off x="7127967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80" name="Picture Placeholder 79"/>
          <p:cNvSpPr>
            <a:spLocks noGrp="1" noChangeAspect="1"/>
          </p:cNvSpPr>
          <p:nvPr>
            <p:ph type="pic" sz="quarter" idx="71"/>
          </p:nvPr>
        </p:nvSpPr>
        <p:spPr>
          <a:xfrm>
            <a:off x="9880558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81" name="Picture Placeholder 80"/>
          <p:cNvSpPr>
            <a:spLocks noGrp="1" noChangeAspect="1"/>
          </p:cNvSpPr>
          <p:nvPr>
            <p:ph type="pic" sz="quarter" idx="72"/>
          </p:nvPr>
        </p:nvSpPr>
        <p:spPr>
          <a:xfrm>
            <a:off x="12633149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82" name="Picture Placeholder 81"/>
          <p:cNvSpPr>
            <a:spLocks noGrp="1" noChangeAspect="1"/>
          </p:cNvSpPr>
          <p:nvPr>
            <p:ph type="pic" sz="quarter" idx="73"/>
          </p:nvPr>
        </p:nvSpPr>
        <p:spPr>
          <a:xfrm>
            <a:off x="15385740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83" name="Picture Placeholder 82"/>
          <p:cNvSpPr>
            <a:spLocks noGrp="1" noChangeAspect="1"/>
          </p:cNvSpPr>
          <p:nvPr>
            <p:ph type="pic" sz="quarter" idx="74"/>
          </p:nvPr>
        </p:nvSpPr>
        <p:spPr>
          <a:xfrm>
            <a:off x="18138331" y="10578130"/>
            <a:ext cx="1911599" cy="1911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графии команды_21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" name="Picture Placeholder 26"/>
          <p:cNvSpPr>
            <a:spLocks noGrp="1" noChangeAspect="1"/>
          </p:cNvSpPr>
          <p:nvPr>
            <p:ph type="pic" sz="quarter" idx="43"/>
          </p:nvPr>
        </p:nvSpPr>
        <p:spPr>
          <a:xfrm>
            <a:off x="1587600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28" name="Picture Placeholder 27"/>
          <p:cNvSpPr>
            <a:spLocks noGrp="1" noChangeAspect="1"/>
          </p:cNvSpPr>
          <p:nvPr>
            <p:ph type="pic" sz="quarter" idx="44"/>
          </p:nvPr>
        </p:nvSpPr>
        <p:spPr>
          <a:xfrm>
            <a:off x="4699202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29" name="Picture Placeholder 28"/>
          <p:cNvSpPr>
            <a:spLocks noGrp="1" noChangeAspect="1"/>
          </p:cNvSpPr>
          <p:nvPr>
            <p:ph type="pic" sz="quarter" idx="45"/>
          </p:nvPr>
        </p:nvSpPr>
        <p:spPr>
          <a:xfrm>
            <a:off x="7810804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0" name="Picture Placeholder 29"/>
          <p:cNvSpPr>
            <a:spLocks noGrp="1" noChangeAspect="1"/>
          </p:cNvSpPr>
          <p:nvPr>
            <p:ph type="pic" sz="quarter" idx="46"/>
          </p:nvPr>
        </p:nvSpPr>
        <p:spPr>
          <a:xfrm>
            <a:off x="10922406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1" name="Picture Placeholder 30"/>
          <p:cNvSpPr>
            <a:spLocks noGrp="1" noChangeAspect="1"/>
          </p:cNvSpPr>
          <p:nvPr>
            <p:ph type="pic" sz="quarter" idx="47"/>
          </p:nvPr>
        </p:nvSpPr>
        <p:spPr>
          <a:xfrm>
            <a:off x="14034008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2" name="Picture Placeholder 31"/>
          <p:cNvSpPr>
            <a:spLocks noGrp="1" noChangeAspect="1"/>
          </p:cNvSpPr>
          <p:nvPr>
            <p:ph type="pic" sz="quarter" idx="48"/>
          </p:nvPr>
        </p:nvSpPr>
        <p:spPr>
          <a:xfrm>
            <a:off x="17145610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3" name="Picture Placeholder 32"/>
          <p:cNvSpPr>
            <a:spLocks noGrp="1" noChangeAspect="1"/>
          </p:cNvSpPr>
          <p:nvPr>
            <p:ph type="pic" sz="quarter" idx="49"/>
          </p:nvPr>
        </p:nvSpPr>
        <p:spPr>
          <a:xfrm>
            <a:off x="20257213" y="2735875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4" name="Picture Placeholder 33"/>
          <p:cNvSpPr>
            <a:spLocks noGrp="1" noChangeAspect="1"/>
          </p:cNvSpPr>
          <p:nvPr>
            <p:ph type="pic" sz="quarter" idx="50"/>
          </p:nvPr>
        </p:nvSpPr>
        <p:spPr>
          <a:xfrm>
            <a:off x="1587600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5" name="Picture Placeholder 34"/>
          <p:cNvSpPr>
            <a:spLocks noGrp="1" noChangeAspect="1"/>
          </p:cNvSpPr>
          <p:nvPr>
            <p:ph type="pic" sz="quarter" idx="51"/>
          </p:nvPr>
        </p:nvSpPr>
        <p:spPr>
          <a:xfrm>
            <a:off x="4699202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6" name="Picture Placeholder 35"/>
          <p:cNvSpPr>
            <a:spLocks noGrp="1" noChangeAspect="1"/>
          </p:cNvSpPr>
          <p:nvPr>
            <p:ph type="pic" sz="quarter" idx="52"/>
          </p:nvPr>
        </p:nvSpPr>
        <p:spPr>
          <a:xfrm>
            <a:off x="7810804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7" name="Picture Placeholder 36"/>
          <p:cNvSpPr>
            <a:spLocks noGrp="1" noChangeAspect="1"/>
          </p:cNvSpPr>
          <p:nvPr>
            <p:ph type="pic" sz="quarter" idx="53"/>
          </p:nvPr>
        </p:nvSpPr>
        <p:spPr>
          <a:xfrm>
            <a:off x="10922406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8" name="Picture Placeholder 37"/>
          <p:cNvSpPr>
            <a:spLocks noGrp="1" noChangeAspect="1"/>
          </p:cNvSpPr>
          <p:nvPr>
            <p:ph type="pic" sz="quarter" idx="54"/>
          </p:nvPr>
        </p:nvSpPr>
        <p:spPr>
          <a:xfrm>
            <a:off x="14034008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39" name="Picture Placeholder 38"/>
          <p:cNvSpPr>
            <a:spLocks noGrp="1" noChangeAspect="1"/>
          </p:cNvSpPr>
          <p:nvPr>
            <p:ph type="pic" sz="quarter" idx="55"/>
          </p:nvPr>
        </p:nvSpPr>
        <p:spPr>
          <a:xfrm>
            <a:off x="17145610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0" name="Picture Placeholder 39"/>
          <p:cNvSpPr>
            <a:spLocks noGrp="1" noChangeAspect="1"/>
          </p:cNvSpPr>
          <p:nvPr>
            <p:ph type="pic" sz="quarter" idx="56"/>
          </p:nvPr>
        </p:nvSpPr>
        <p:spPr>
          <a:xfrm>
            <a:off x="20257213" y="6054803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1" name="Picture Placeholder 40"/>
          <p:cNvSpPr>
            <a:spLocks noGrp="1" noChangeAspect="1"/>
          </p:cNvSpPr>
          <p:nvPr>
            <p:ph type="pic" sz="quarter" idx="57"/>
          </p:nvPr>
        </p:nvSpPr>
        <p:spPr>
          <a:xfrm>
            <a:off x="1587600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2" name="Picture Placeholder 41"/>
          <p:cNvSpPr>
            <a:spLocks noGrp="1" noChangeAspect="1"/>
          </p:cNvSpPr>
          <p:nvPr>
            <p:ph type="pic" sz="quarter" idx="58"/>
          </p:nvPr>
        </p:nvSpPr>
        <p:spPr>
          <a:xfrm>
            <a:off x="4699202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3" name="Picture Placeholder 42"/>
          <p:cNvSpPr>
            <a:spLocks noGrp="1" noChangeAspect="1"/>
          </p:cNvSpPr>
          <p:nvPr>
            <p:ph type="pic" sz="quarter" idx="59"/>
          </p:nvPr>
        </p:nvSpPr>
        <p:spPr>
          <a:xfrm>
            <a:off x="7810804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4" name="Picture Placeholder 43"/>
          <p:cNvSpPr>
            <a:spLocks noGrp="1" noChangeAspect="1"/>
          </p:cNvSpPr>
          <p:nvPr>
            <p:ph type="pic" sz="quarter" idx="60"/>
          </p:nvPr>
        </p:nvSpPr>
        <p:spPr>
          <a:xfrm>
            <a:off x="10922406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5" name="Picture Placeholder 44"/>
          <p:cNvSpPr>
            <a:spLocks noGrp="1" noChangeAspect="1"/>
          </p:cNvSpPr>
          <p:nvPr>
            <p:ph type="pic" sz="quarter" idx="61"/>
          </p:nvPr>
        </p:nvSpPr>
        <p:spPr>
          <a:xfrm>
            <a:off x="14034008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6" name="Picture Placeholder 45"/>
          <p:cNvSpPr>
            <a:spLocks noGrp="1" noChangeAspect="1"/>
          </p:cNvSpPr>
          <p:nvPr>
            <p:ph type="pic" sz="quarter" idx="62"/>
          </p:nvPr>
        </p:nvSpPr>
        <p:spPr>
          <a:xfrm>
            <a:off x="17145610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63"/>
          </p:nvPr>
        </p:nvSpPr>
        <p:spPr>
          <a:xfrm>
            <a:off x="20257213" y="9371326"/>
            <a:ext cx="2563199" cy="25632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графии команды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562100" y="5286376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562100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226843" y="5286376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226843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8898731" y="5286376"/>
            <a:ext cx="2938463" cy="425275"/>
          </a:xfrm>
          <a:prstGeom prst="rect">
            <a:avLst/>
          </a:prstGeom>
        </p:spPr>
        <p:txBody>
          <a:bodyPr/>
          <a:lstStyle>
            <a:lvl1pPr marL="0" marR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898731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2545220" y="5286376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2545220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6217108" y="5286376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6217108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9874708" y="5286376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9874708" y="5845176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1562100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1562100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226843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5226843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8898731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8898731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12545220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70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12545220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16217108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16217108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19874708" y="10771188"/>
            <a:ext cx="2938463" cy="425275"/>
          </a:xfrm>
          <a:prstGeom prst="rect">
            <a:avLst/>
          </a:prstGeom>
        </p:spPr>
        <p:txBody>
          <a:bodyPr/>
          <a:lstStyle>
            <a:lvl1pPr algn="ctr">
              <a:defRPr sz="2400" b="0" i="0">
                <a:latin typeface="YS Tex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ru-RU" dirty="0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19874708" y="11329988"/>
            <a:ext cx="2938463" cy="1085180"/>
          </a:xfrm>
          <a:prstGeom prst="rect">
            <a:avLst/>
          </a:prstGeom>
        </p:spPr>
        <p:txBody>
          <a:bodyPr/>
          <a:lstStyle>
            <a:lvl1pPr algn="ctr">
              <a:defRPr sz="1800" b="0" i="0">
                <a:latin typeface="YS Text Light" pitchFamily="2" charset="77"/>
              </a:defRPr>
            </a:lvl1pPr>
          </a:lstStyle>
          <a:p>
            <a:pPr lvl="0"/>
            <a:r>
              <a:rPr lang="en-US" dirty="0"/>
              <a:t>Position</a:t>
            </a:r>
            <a:endParaRPr lang="ru-RU" dirty="0"/>
          </a:p>
        </p:txBody>
      </p:sp>
      <p:sp>
        <p:nvSpPr>
          <p:cNvPr id="51" name="Picture Placeholder 50"/>
          <p:cNvSpPr>
            <a:spLocks noGrp="1" noChangeAspect="1"/>
          </p:cNvSpPr>
          <p:nvPr>
            <p:ph type="pic" sz="quarter" idx="52"/>
          </p:nvPr>
        </p:nvSpPr>
        <p:spPr>
          <a:xfrm>
            <a:off x="1755500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2" name="Picture Placeholder 51"/>
          <p:cNvSpPr>
            <a:spLocks noGrp="1" noChangeAspect="1"/>
          </p:cNvSpPr>
          <p:nvPr>
            <p:ph type="pic" sz="quarter" idx="53"/>
          </p:nvPr>
        </p:nvSpPr>
        <p:spPr>
          <a:xfrm>
            <a:off x="5421379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3" name="Picture Placeholder 52"/>
          <p:cNvSpPr>
            <a:spLocks noGrp="1" noChangeAspect="1"/>
          </p:cNvSpPr>
          <p:nvPr>
            <p:ph type="pic" sz="quarter" idx="54"/>
          </p:nvPr>
        </p:nvSpPr>
        <p:spPr>
          <a:xfrm>
            <a:off x="9087258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4" name="Picture Placeholder 53"/>
          <p:cNvSpPr>
            <a:spLocks noGrp="1" noChangeAspect="1"/>
          </p:cNvSpPr>
          <p:nvPr>
            <p:ph type="pic" sz="quarter" idx="55"/>
          </p:nvPr>
        </p:nvSpPr>
        <p:spPr>
          <a:xfrm>
            <a:off x="12753137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5" name="Picture Placeholder 54"/>
          <p:cNvSpPr>
            <a:spLocks noGrp="1" noChangeAspect="1"/>
          </p:cNvSpPr>
          <p:nvPr>
            <p:ph type="pic" sz="quarter" idx="56"/>
          </p:nvPr>
        </p:nvSpPr>
        <p:spPr>
          <a:xfrm>
            <a:off x="16419016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Picture Placeholder 55"/>
          <p:cNvSpPr>
            <a:spLocks noGrp="1" noChangeAspect="1"/>
          </p:cNvSpPr>
          <p:nvPr>
            <p:ph type="pic" sz="quarter" idx="57"/>
          </p:nvPr>
        </p:nvSpPr>
        <p:spPr>
          <a:xfrm>
            <a:off x="20084893" y="2375938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7" name="Picture Placeholder 56"/>
          <p:cNvSpPr>
            <a:spLocks noGrp="1" noChangeAspect="1"/>
          </p:cNvSpPr>
          <p:nvPr>
            <p:ph type="pic" sz="quarter" idx="58"/>
          </p:nvPr>
        </p:nvSpPr>
        <p:spPr>
          <a:xfrm>
            <a:off x="1755500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8" name="Picture Placeholder 57"/>
          <p:cNvSpPr>
            <a:spLocks noGrp="1" noChangeAspect="1"/>
          </p:cNvSpPr>
          <p:nvPr>
            <p:ph type="pic" sz="quarter" idx="59"/>
          </p:nvPr>
        </p:nvSpPr>
        <p:spPr>
          <a:xfrm>
            <a:off x="5421379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59" name="Picture Placeholder 58"/>
          <p:cNvSpPr>
            <a:spLocks noGrp="1" noChangeAspect="1"/>
          </p:cNvSpPr>
          <p:nvPr>
            <p:ph type="pic" sz="quarter" idx="60"/>
          </p:nvPr>
        </p:nvSpPr>
        <p:spPr>
          <a:xfrm>
            <a:off x="9087258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0" name="Picture Placeholder 59"/>
          <p:cNvSpPr>
            <a:spLocks noGrp="1" noChangeAspect="1"/>
          </p:cNvSpPr>
          <p:nvPr>
            <p:ph type="pic" sz="quarter" idx="61"/>
          </p:nvPr>
        </p:nvSpPr>
        <p:spPr>
          <a:xfrm>
            <a:off x="12753137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1" name="Picture Placeholder 60"/>
          <p:cNvSpPr>
            <a:spLocks noGrp="1" noChangeAspect="1"/>
          </p:cNvSpPr>
          <p:nvPr>
            <p:ph type="pic" sz="quarter" idx="62"/>
          </p:nvPr>
        </p:nvSpPr>
        <p:spPr>
          <a:xfrm>
            <a:off x="16419016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  <p:sp>
        <p:nvSpPr>
          <p:cNvPr id="62" name="Picture Placeholder 61"/>
          <p:cNvSpPr>
            <a:spLocks noGrp="1" noChangeAspect="1"/>
          </p:cNvSpPr>
          <p:nvPr>
            <p:ph type="pic" sz="quarter" idx="63"/>
          </p:nvPr>
        </p:nvSpPr>
        <p:spPr>
          <a:xfrm>
            <a:off x="20084893" y="7860750"/>
            <a:ext cx="2559599" cy="2559600"/>
          </a:xfrm>
          <a:custGeom>
            <a:avLst/>
            <a:gdLst>
              <a:gd name="connsiteX0" fmla="*/ 955799 w 1911599"/>
              <a:gd name="connsiteY0" fmla="*/ 0 h 1911600"/>
              <a:gd name="connsiteX1" fmla="*/ 1911599 w 1911599"/>
              <a:gd name="connsiteY1" fmla="*/ 955800 h 1911600"/>
              <a:gd name="connsiteX2" fmla="*/ 955799 w 1911599"/>
              <a:gd name="connsiteY2" fmla="*/ 1911600 h 1911600"/>
              <a:gd name="connsiteX3" fmla="*/ 4934 w 1911599"/>
              <a:gd name="connsiteY3" fmla="*/ 1053525 h 1911600"/>
              <a:gd name="connsiteX4" fmla="*/ 0 w 1911599"/>
              <a:gd name="connsiteY4" fmla="*/ 955820 h 1911600"/>
              <a:gd name="connsiteX5" fmla="*/ 0 w 1911599"/>
              <a:gd name="connsiteY5" fmla="*/ 955780 h 1911600"/>
              <a:gd name="connsiteX6" fmla="*/ 4934 w 1911599"/>
              <a:gd name="connsiteY6" fmla="*/ 858075 h 1911600"/>
              <a:gd name="connsiteX7" fmla="*/ 955799 w 1911599"/>
              <a:gd name="connsiteY7" fmla="*/ 0 h 191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11599" h="1911600">
                <a:moveTo>
                  <a:pt x="955799" y="0"/>
                </a:moveTo>
                <a:cubicBezTo>
                  <a:pt x="1483673" y="0"/>
                  <a:pt x="1911599" y="427926"/>
                  <a:pt x="1911599" y="955800"/>
                </a:cubicBezTo>
                <a:cubicBezTo>
                  <a:pt x="1911599" y="1483674"/>
                  <a:pt x="1483673" y="1911600"/>
                  <a:pt x="955799" y="1911600"/>
                </a:cubicBezTo>
                <a:cubicBezTo>
                  <a:pt x="460917" y="1911600"/>
                  <a:pt x="53880" y="1535493"/>
                  <a:pt x="4934" y="1053525"/>
                </a:cubicBezTo>
                <a:lnTo>
                  <a:pt x="0" y="955820"/>
                </a:lnTo>
                <a:lnTo>
                  <a:pt x="0" y="955780"/>
                </a:lnTo>
                <a:lnTo>
                  <a:pt x="4934" y="858075"/>
                </a:lnTo>
                <a:cubicBezTo>
                  <a:pt x="53880" y="376107"/>
                  <a:pt x="460917" y="0"/>
                  <a:pt x="9557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508000" dist="38100" dir="2700000" sx="101000" sy="101000" algn="tl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45000" tIns="108000" rIns="45000" bIns="108000" rtlCol="0" anchor="ctr" anchorCtr="0">
            <a:noAutofit/>
          </a:bodyPr>
          <a:lstStyle>
            <a:lvl1pPr>
              <a:defRPr lang="en-GB" sz="1600" dirty="0">
                <a:ln w="0"/>
                <a:solidFill>
                  <a:schemeClr val="lt1"/>
                </a:solidFill>
                <a:latin typeface="Arial"/>
              </a:defRPr>
            </a:lvl1pPr>
          </a:lstStyle>
          <a:p>
            <a:pPr lvl="0" algn="ctr" defTabSz="914400">
              <a:lnSpc>
                <a:spcPct val="90000"/>
              </a:lnSpc>
            </a:pPr>
            <a:endParaRPr lang="en-GB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фотографии с тез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ound Same-side Corner of Rectangle 24"/>
          <p:cNvSpPr/>
          <p:nvPr userDrawn="1"/>
        </p:nvSpPr>
        <p:spPr>
          <a:xfrm rot="10800000">
            <a:off x="12655481" y="9058167"/>
            <a:ext cx="10164927" cy="3383214"/>
          </a:xfrm>
          <a:prstGeom prst="round2SameRect">
            <a:avLst>
              <a:gd name="adj1" fmla="val 1294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 Same-side Corner of Rectangle 7"/>
          <p:cNvSpPr/>
          <p:nvPr userDrawn="1"/>
        </p:nvSpPr>
        <p:spPr>
          <a:xfrm rot="10800000">
            <a:off x="1587595" y="9058167"/>
            <a:ext cx="10164927" cy="3383214"/>
          </a:xfrm>
          <a:prstGeom prst="round2SameRect">
            <a:avLst>
              <a:gd name="adj1" fmla="val 1294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 userDrawn="1">
            <p:ph type="pic" sz="quarter" idx="11"/>
          </p:nvPr>
        </p:nvSpPr>
        <p:spPr>
          <a:xfrm>
            <a:off x="1587595" y="4561570"/>
            <a:ext cx="10132234" cy="4483052"/>
          </a:xfrm>
          <a:prstGeom prst="round2SameRect">
            <a:avLst>
              <a:gd name="adj1" fmla="val 100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12688174" y="4561570"/>
            <a:ext cx="10132234" cy="4483052"/>
          </a:xfrm>
          <a:prstGeom prst="round2SameRect">
            <a:avLst>
              <a:gd name="adj1" fmla="val 100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1930400" y="9431714"/>
            <a:ext cx="9475788" cy="3200876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3600"/>
            </a:lvl2pPr>
            <a:lvl3pPr>
              <a:spcAft>
                <a:spcPts val="1800"/>
              </a:spcAft>
              <a:defRPr sz="2800"/>
            </a:lvl3pPr>
            <a:lvl4pPr>
              <a:spcAft>
                <a:spcPts val="1800"/>
              </a:spcAft>
              <a:defRPr sz="2800"/>
            </a:lvl4pPr>
            <a:lvl5pPr>
              <a:spcAft>
                <a:spcPts val="18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12998323" y="9431714"/>
            <a:ext cx="9475788" cy="3200876"/>
          </a:xfrm>
        </p:spPr>
        <p:txBody>
          <a:bodyPr>
            <a:sp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3600"/>
            </a:lvl2pPr>
            <a:lvl3pPr>
              <a:spcAft>
                <a:spcPts val="1800"/>
              </a:spcAft>
              <a:defRPr sz="2800"/>
            </a:lvl3pPr>
            <a:lvl4pPr>
              <a:spcAft>
                <a:spcPts val="1800"/>
              </a:spcAft>
              <a:defRPr sz="2800"/>
            </a:lvl4pPr>
            <a:lvl5pPr>
              <a:spcAft>
                <a:spcPts val="18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1587600" y="2319766"/>
            <a:ext cx="15756616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800"/>
              </a:spcAft>
              <a:defRPr sz="3600"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графии с тез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 Same-side Corner of Rectangle 7"/>
          <p:cNvSpPr/>
          <p:nvPr userDrawn="1"/>
        </p:nvSpPr>
        <p:spPr>
          <a:xfrm rot="10800000">
            <a:off x="1594695" y="8542881"/>
            <a:ext cx="6486777" cy="3898500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9" name="Round Same-side Corner of Rectangle 8"/>
          <p:cNvSpPr/>
          <p:nvPr userDrawn="1"/>
        </p:nvSpPr>
        <p:spPr>
          <a:xfrm rot="10800000">
            <a:off x="8964163" y="8542881"/>
            <a:ext cx="6486777" cy="3898500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10" name="Round Same-side Corner of Rectangle 9"/>
          <p:cNvSpPr/>
          <p:nvPr userDrawn="1"/>
        </p:nvSpPr>
        <p:spPr>
          <a:xfrm rot="10800000">
            <a:off x="16333631" y="8542881"/>
            <a:ext cx="6486777" cy="3898500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8964166" y="4561570"/>
            <a:ext cx="6486778" cy="3981313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3"/>
          <p:cNvSpPr>
            <a:spLocks noGrp="1"/>
          </p:cNvSpPr>
          <p:nvPr userDrawn="1">
            <p:ph type="pic" sz="quarter" idx="11"/>
          </p:nvPr>
        </p:nvSpPr>
        <p:spPr>
          <a:xfrm>
            <a:off x="1594699" y="4561570"/>
            <a:ext cx="6486775" cy="3981313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5" name="Picture Placeholder 3"/>
          <p:cNvSpPr>
            <a:spLocks noGrp="1"/>
          </p:cNvSpPr>
          <p:nvPr userDrawn="1">
            <p:ph type="pic" sz="quarter" idx="12"/>
          </p:nvPr>
        </p:nvSpPr>
        <p:spPr>
          <a:xfrm>
            <a:off x="16333634" y="4561570"/>
            <a:ext cx="6486778" cy="3981313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1886340" y="8909199"/>
            <a:ext cx="5903487" cy="3200876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3600"/>
            </a:lvl2pPr>
            <a:lvl3pPr>
              <a:spcAft>
                <a:spcPts val="1800"/>
              </a:spcAft>
              <a:defRPr sz="2800"/>
            </a:lvl3pPr>
            <a:lvl4pPr>
              <a:spcAft>
                <a:spcPts val="1800"/>
              </a:spcAft>
              <a:defRPr sz="2800"/>
            </a:lvl4pPr>
            <a:lvl5pPr>
              <a:spcAft>
                <a:spcPts val="18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9255808" y="8909199"/>
            <a:ext cx="5903487" cy="3200876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3600"/>
            </a:lvl2pPr>
            <a:lvl3pPr>
              <a:spcAft>
                <a:spcPts val="1800"/>
              </a:spcAft>
              <a:defRPr sz="2800"/>
            </a:lvl3pPr>
            <a:lvl4pPr>
              <a:spcAft>
                <a:spcPts val="1800"/>
              </a:spcAft>
              <a:defRPr sz="2800"/>
            </a:lvl4pPr>
            <a:lvl5pPr>
              <a:spcAft>
                <a:spcPts val="18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16625276" y="8909199"/>
            <a:ext cx="5903487" cy="3200876"/>
          </a:xfrm>
        </p:spPr>
        <p:txBody>
          <a:bodyPr wrap="square">
            <a:spAutoFit/>
          </a:bodyPr>
          <a:lstStyle>
            <a:lvl1pPr>
              <a:spcAft>
                <a:spcPts val="1800"/>
              </a:spcAft>
              <a:defRPr sz="2800"/>
            </a:lvl1pPr>
            <a:lvl2pPr>
              <a:spcAft>
                <a:spcPts val="1800"/>
              </a:spcAft>
              <a:defRPr sz="3600"/>
            </a:lvl2pPr>
            <a:lvl3pPr>
              <a:spcAft>
                <a:spcPts val="1800"/>
              </a:spcAft>
              <a:defRPr sz="2800"/>
            </a:lvl3pPr>
            <a:lvl4pPr>
              <a:spcAft>
                <a:spcPts val="1800"/>
              </a:spcAft>
              <a:defRPr sz="2800"/>
            </a:lvl4pPr>
            <a:lvl5pPr>
              <a:spcAft>
                <a:spcPts val="1800"/>
              </a:spcAft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1587600" y="2319766"/>
            <a:ext cx="15756616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800"/>
              </a:spcAft>
              <a:defRPr sz="3600"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графии с тез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 Same-side Corner of Rectangle 7"/>
          <p:cNvSpPr/>
          <p:nvPr userDrawn="1"/>
        </p:nvSpPr>
        <p:spPr>
          <a:xfrm rot="10800000">
            <a:off x="1594700" y="8229598"/>
            <a:ext cx="4813200" cy="4211782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9" name="Round Same-side Corner of Rectangle 8"/>
          <p:cNvSpPr/>
          <p:nvPr userDrawn="1"/>
        </p:nvSpPr>
        <p:spPr>
          <a:xfrm rot="10800000">
            <a:off x="7062858" y="8229598"/>
            <a:ext cx="4813200" cy="4211782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10" name="Round Same-side Corner of Rectangle 9"/>
          <p:cNvSpPr/>
          <p:nvPr userDrawn="1"/>
        </p:nvSpPr>
        <p:spPr>
          <a:xfrm rot="10800000">
            <a:off x="12531016" y="8229598"/>
            <a:ext cx="4813200" cy="4211782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11" name="Round Same-side Corner of Rectangle 10"/>
          <p:cNvSpPr/>
          <p:nvPr userDrawn="1"/>
        </p:nvSpPr>
        <p:spPr>
          <a:xfrm rot="10800000">
            <a:off x="17999175" y="8229598"/>
            <a:ext cx="4813200" cy="4211782"/>
          </a:xfrm>
          <a:prstGeom prst="round2SameRect">
            <a:avLst>
              <a:gd name="adj1" fmla="val 11889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889000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GB" sz="2800">
              <a:ln w="0"/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062858" y="4561571"/>
            <a:ext cx="4813200" cy="3640320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94700" y="4561571"/>
            <a:ext cx="4813200" cy="3640320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2531016" y="4561571"/>
            <a:ext cx="4813200" cy="3640320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7999175" y="4561571"/>
            <a:ext cx="4813200" cy="3640320"/>
          </a:xfrm>
          <a:prstGeom prst="round2SameRect">
            <a:avLst>
              <a:gd name="adj1" fmla="val 11251"/>
              <a:gd name="adj2" fmla="val 0"/>
            </a:avLst>
          </a:prstGeom>
        </p:spPr>
        <p:txBody>
          <a:bodyPr/>
          <a:lstStyle/>
          <a:p>
            <a:endParaRPr lang="en-GB"/>
          </a:p>
        </p:txBody>
      </p:sp>
      <p:sp>
        <p:nvSpPr>
          <p:cNvPr id="30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1587600" y="2319766"/>
            <a:ext cx="15756616" cy="553998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1800"/>
              </a:spcAft>
              <a:defRPr sz="3600"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  <a:endParaRPr lang="en-GB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1909741" y="8569329"/>
            <a:ext cx="4183119" cy="2626360"/>
          </a:xfrm>
        </p:spPr>
        <p:txBody>
          <a:bodyPr wrap="square">
            <a:spAutoFit/>
          </a:bodyPr>
          <a:lstStyle>
            <a:lvl1pPr>
              <a:spcAft>
                <a:spcPts val="1400"/>
              </a:spcAft>
              <a:defRPr sz="2400"/>
            </a:lvl1pPr>
            <a:lvl2pPr>
              <a:spcAft>
                <a:spcPts val="14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7377898" y="8569329"/>
            <a:ext cx="4183119" cy="2626360"/>
          </a:xfrm>
        </p:spPr>
        <p:txBody>
          <a:bodyPr wrap="square">
            <a:spAutoFit/>
          </a:bodyPr>
          <a:lstStyle>
            <a:lvl1pPr>
              <a:spcAft>
                <a:spcPts val="1400"/>
              </a:spcAft>
              <a:defRPr sz="2400"/>
            </a:lvl1pPr>
            <a:lvl2pPr>
              <a:spcAft>
                <a:spcPts val="14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12846057" y="8569329"/>
            <a:ext cx="4183119" cy="2626360"/>
          </a:xfrm>
        </p:spPr>
        <p:txBody>
          <a:bodyPr wrap="square">
            <a:spAutoFit/>
          </a:bodyPr>
          <a:lstStyle>
            <a:lvl1pPr>
              <a:spcAft>
                <a:spcPts val="1400"/>
              </a:spcAft>
              <a:defRPr sz="2400"/>
            </a:lvl1pPr>
            <a:lvl2pPr>
              <a:spcAft>
                <a:spcPts val="14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/>
          </p:nvPr>
        </p:nvSpPr>
        <p:spPr>
          <a:xfrm>
            <a:off x="18314216" y="8569329"/>
            <a:ext cx="4183119" cy="2626360"/>
          </a:xfrm>
        </p:spPr>
        <p:txBody>
          <a:bodyPr wrap="square">
            <a:spAutoFit/>
          </a:bodyPr>
          <a:lstStyle>
            <a:lvl1pPr>
              <a:spcAft>
                <a:spcPts val="1400"/>
              </a:spcAft>
              <a:defRPr sz="2400"/>
            </a:lvl1pPr>
            <a:lvl2pPr>
              <a:spcAft>
                <a:spcPts val="1400"/>
              </a:spcAft>
              <a:defRPr sz="3200"/>
            </a:lvl2pPr>
            <a:lvl3pPr marL="360045" indent="-360045">
              <a:spcAft>
                <a:spcPts val="1200"/>
              </a:spcAft>
              <a:defRPr sz="2400"/>
            </a:lvl3pPr>
            <a:lvl4pPr marL="720090" indent="-360045">
              <a:spcAft>
                <a:spcPts val="1200"/>
              </a:spcAft>
              <a:defRPr sz="2400"/>
            </a:lvl4pPr>
            <a:lvl5pPr>
              <a:spcAft>
                <a:spcPts val="1200"/>
              </a:spcAft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Go_ru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065780" y="1801891"/>
            <a:ext cx="3938436" cy="1119844"/>
            <a:chOff x="3065780" y="1863566"/>
            <a:chExt cx="3938441" cy="1119845"/>
          </a:xfrm>
        </p:grpSpPr>
        <p:sp>
          <p:nvSpPr>
            <p:cNvPr id="14" name="Rectangle 13"/>
            <p:cNvSpPr/>
            <p:nvPr userDrawn="1"/>
          </p:nvSpPr>
          <p:spPr>
            <a:xfrm>
              <a:off x="5895833" y="2013045"/>
              <a:ext cx="989463" cy="757451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>
                <a:ln w="0"/>
                <a:solidFill>
                  <a:schemeClr val="tx1"/>
                </a:solidFill>
              </a:endParaRPr>
            </a:p>
          </p:txBody>
        </p:sp>
        <p:grpSp>
          <p:nvGrpSpPr>
            <p:cNvPr id="16" name="Group 15"/>
            <p:cNvGrpSpPr>
              <a:grpSpLocks noChangeAspect="1"/>
            </p:cNvGrpSpPr>
            <p:nvPr userDrawn="1"/>
          </p:nvGrpSpPr>
          <p:grpSpPr>
            <a:xfrm>
              <a:off x="3065780" y="1863566"/>
              <a:ext cx="3938441" cy="1119845"/>
              <a:chOff x="1825536" y="4990509"/>
              <a:chExt cx="13098007" cy="3724251"/>
            </a:xfrm>
            <a:solidFill>
              <a:schemeClr val="tx1"/>
            </a:solidFill>
          </p:grpSpPr>
          <p:grpSp>
            <p:nvGrpSpPr>
              <p:cNvPr id="20" name="Group 19"/>
              <p:cNvGrpSpPr/>
              <p:nvPr userDrawn="1"/>
            </p:nvGrpSpPr>
            <p:grpSpPr>
              <a:xfrm>
                <a:off x="10885468" y="4990509"/>
                <a:ext cx="4038075" cy="3724251"/>
                <a:chOff x="10885468" y="4990509"/>
                <a:chExt cx="4038075" cy="3724251"/>
              </a:xfrm>
              <a:grpFill/>
            </p:grpSpPr>
            <p:sp>
              <p:nvSpPr>
                <p:cNvPr id="22" name="Freeform 21"/>
                <p:cNvSpPr/>
                <p:nvPr/>
              </p:nvSpPr>
              <p:spPr>
                <a:xfrm>
                  <a:off x="10885468" y="4990509"/>
                  <a:ext cx="4038075" cy="3724251"/>
                </a:xfrm>
                <a:custGeom>
                  <a:avLst/>
                  <a:gdLst>
                    <a:gd name="connsiteX0" fmla="*/ 3656399 w 4038075"/>
                    <a:gd name="connsiteY0" fmla="*/ 381102 h 3724251"/>
                    <a:gd name="connsiteX1" fmla="*/ 2735145 w 4038075"/>
                    <a:gd name="connsiteY1" fmla="*/ 0 h 3724251"/>
                    <a:gd name="connsiteX2" fmla="*/ 1287881 w 4038075"/>
                    <a:gd name="connsiteY2" fmla="*/ 0 h 3724251"/>
                    <a:gd name="connsiteX3" fmla="*/ 0 w 4038075"/>
                    <a:gd name="connsiteY3" fmla="*/ 1301319 h 3724251"/>
                    <a:gd name="connsiteX4" fmla="*/ 0 w 4038075"/>
                    <a:gd name="connsiteY4" fmla="*/ 2423179 h 3724251"/>
                    <a:gd name="connsiteX5" fmla="*/ 1302191 w 4038075"/>
                    <a:gd name="connsiteY5" fmla="*/ 3724252 h 3724251"/>
                    <a:gd name="connsiteX6" fmla="*/ 1302931 w 4038075"/>
                    <a:gd name="connsiteY6" fmla="*/ 3724251 h 3724251"/>
                    <a:gd name="connsiteX7" fmla="*/ 2735144 w 4038075"/>
                    <a:gd name="connsiteY7" fmla="*/ 3724251 h 3724251"/>
                    <a:gd name="connsiteX8" fmla="*/ 4038075 w 4038075"/>
                    <a:gd name="connsiteY8" fmla="*/ 2423919 h 3724251"/>
                    <a:gd name="connsiteX9" fmla="*/ 4038075 w 4038075"/>
                    <a:gd name="connsiteY9" fmla="*/ 2423179 h 3724251"/>
                    <a:gd name="connsiteX10" fmla="*/ 4038075 w 4038075"/>
                    <a:gd name="connsiteY10" fmla="*/ 1301319 h 3724251"/>
                    <a:gd name="connsiteX11" fmla="*/ 3656399 w 4038075"/>
                    <a:gd name="connsiteY11" fmla="*/ 381102 h 3724251"/>
                    <a:gd name="connsiteX12" fmla="*/ 2004358 w 4038075"/>
                    <a:gd name="connsiteY12" fmla="*/ 2095323 h 3724251"/>
                    <a:gd name="connsiteX13" fmla="*/ 1276285 w 4038075"/>
                    <a:gd name="connsiteY13" fmla="*/ 2928275 h 3724251"/>
                    <a:gd name="connsiteX14" fmla="*/ 499609 w 4038075"/>
                    <a:gd name="connsiteY14" fmla="*/ 1859907 h 3724251"/>
                    <a:gd name="connsiteX15" fmla="*/ 1382128 w 4038075"/>
                    <a:gd name="connsiteY15" fmla="*/ 788088 h 3724251"/>
                    <a:gd name="connsiteX16" fmla="*/ 1885932 w 4038075"/>
                    <a:gd name="connsiteY16" fmla="*/ 919477 h 3724251"/>
                    <a:gd name="connsiteX17" fmla="*/ 1885932 w 4038075"/>
                    <a:gd name="connsiteY17" fmla="*/ 1209617 h 3724251"/>
                    <a:gd name="connsiteX18" fmla="*/ 1399646 w 4038075"/>
                    <a:gd name="connsiteY18" fmla="*/ 1069601 h 3724251"/>
                    <a:gd name="connsiteX19" fmla="*/ 866236 w 4038075"/>
                    <a:gd name="connsiteY19" fmla="*/ 1860400 h 3724251"/>
                    <a:gd name="connsiteX20" fmla="*/ 1282947 w 4038075"/>
                    <a:gd name="connsiteY20" fmla="*/ 2647255 h 3724251"/>
                    <a:gd name="connsiteX21" fmla="*/ 1642419 w 4038075"/>
                    <a:gd name="connsiteY21" fmla="*/ 2104937 h 3724251"/>
                    <a:gd name="connsiteX22" fmla="*/ 1642419 w 4038075"/>
                    <a:gd name="connsiteY22" fmla="*/ 2042570 h 3724251"/>
                    <a:gd name="connsiteX23" fmla="*/ 1261236 w 4038075"/>
                    <a:gd name="connsiteY23" fmla="*/ 2042570 h 3724251"/>
                    <a:gd name="connsiteX24" fmla="*/ 1261236 w 4038075"/>
                    <a:gd name="connsiteY24" fmla="*/ 1761057 h 3724251"/>
                    <a:gd name="connsiteX25" fmla="*/ 2004358 w 4038075"/>
                    <a:gd name="connsiteY25" fmla="*/ 1761057 h 3724251"/>
                    <a:gd name="connsiteX26" fmla="*/ 2880216 w 4038075"/>
                    <a:gd name="connsiteY26" fmla="*/ 2929508 h 3724251"/>
                    <a:gd name="connsiteX27" fmla="*/ 2214070 w 4038075"/>
                    <a:gd name="connsiteY27" fmla="*/ 2148569 h 3724251"/>
                    <a:gd name="connsiteX28" fmla="*/ 2880216 w 4038075"/>
                    <a:gd name="connsiteY28" fmla="*/ 1364178 h 3724251"/>
                    <a:gd name="connsiteX29" fmla="*/ 3546362 w 4038075"/>
                    <a:gd name="connsiteY29" fmla="*/ 2144871 h 3724251"/>
                    <a:gd name="connsiteX30" fmla="*/ 2880216 w 4038075"/>
                    <a:gd name="connsiteY30" fmla="*/ 2930001 h 3724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038075" h="3724251">
                      <a:moveTo>
                        <a:pt x="3656399" y="381102"/>
                      </a:moveTo>
                      <a:cubicBezTo>
                        <a:pt x="3412051" y="137026"/>
                        <a:pt x="3080662" y="-62"/>
                        <a:pt x="2735145" y="0"/>
                      </a:cubicBezTo>
                      <a:lnTo>
                        <a:pt x="1287881" y="0"/>
                      </a:lnTo>
                      <a:cubicBezTo>
                        <a:pt x="568197" y="0"/>
                        <a:pt x="0" y="582500"/>
                        <a:pt x="0" y="1301319"/>
                      </a:cubicBezTo>
                      <a:lnTo>
                        <a:pt x="0" y="2423179"/>
                      </a:lnTo>
                      <a:cubicBezTo>
                        <a:pt x="0" y="3141741"/>
                        <a:pt x="583011" y="3724251"/>
                        <a:pt x="1302191" y="3724252"/>
                      </a:cubicBezTo>
                      <a:cubicBezTo>
                        <a:pt x="1302438" y="3724252"/>
                        <a:pt x="1302685" y="3724252"/>
                        <a:pt x="1302931" y="3724251"/>
                      </a:cubicBezTo>
                      <a:lnTo>
                        <a:pt x="2735144" y="3724251"/>
                      </a:lnTo>
                      <a:cubicBezTo>
                        <a:pt x="3454325" y="3724660"/>
                        <a:pt x="4037666" y="3142481"/>
                        <a:pt x="4038075" y="2423919"/>
                      </a:cubicBezTo>
                      <a:cubicBezTo>
                        <a:pt x="4038075" y="2423672"/>
                        <a:pt x="4038075" y="2423426"/>
                        <a:pt x="4038075" y="2423179"/>
                      </a:cubicBezTo>
                      <a:lnTo>
                        <a:pt x="4038075" y="1301319"/>
                      </a:lnTo>
                      <a:cubicBezTo>
                        <a:pt x="4038060" y="956138"/>
                        <a:pt x="3900762" y="625110"/>
                        <a:pt x="3656399" y="381102"/>
                      </a:cubicBezTo>
                      <a:close/>
                      <a:moveTo>
                        <a:pt x="2004358" y="2095323"/>
                      </a:moveTo>
                      <a:cubicBezTo>
                        <a:pt x="2004358" y="2622112"/>
                        <a:pt x="1752456" y="2928275"/>
                        <a:pt x="1276285" y="2928275"/>
                      </a:cubicBezTo>
                      <a:cubicBezTo>
                        <a:pt x="784818" y="2928275"/>
                        <a:pt x="499609" y="2541503"/>
                        <a:pt x="499609" y="1859907"/>
                      </a:cubicBezTo>
                      <a:cubicBezTo>
                        <a:pt x="499609" y="1194334"/>
                        <a:pt x="810970" y="788088"/>
                        <a:pt x="1382128" y="788088"/>
                      </a:cubicBezTo>
                      <a:cubicBezTo>
                        <a:pt x="1598009" y="788088"/>
                        <a:pt x="1784037" y="845278"/>
                        <a:pt x="1885932" y="919477"/>
                      </a:cubicBezTo>
                      <a:lnTo>
                        <a:pt x="1885932" y="1209617"/>
                      </a:lnTo>
                      <a:cubicBezTo>
                        <a:pt x="1739778" y="1119220"/>
                        <a:pt x="1571534" y="1070777"/>
                        <a:pt x="1399646" y="1069601"/>
                      </a:cubicBezTo>
                      <a:cubicBezTo>
                        <a:pt x="1024877" y="1069601"/>
                        <a:pt x="866236" y="1323751"/>
                        <a:pt x="866236" y="1860400"/>
                      </a:cubicBezTo>
                      <a:cubicBezTo>
                        <a:pt x="866236" y="2380780"/>
                        <a:pt x="997738" y="2647255"/>
                        <a:pt x="1282947" y="2647255"/>
                      </a:cubicBezTo>
                      <a:cubicBezTo>
                        <a:pt x="1555573" y="2647255"/>
                        <a:pt x="1642419" y="2437970"/>
                        <a:pt x="1642419" y="2104937"/>
                      </a:cubicBezTo>
                      <a:lnTo>
                        <a:pt x="1642419" y="2042570"/>
                      </a:lnTo>
                      <a:lnTo>
                        <a:pt x="1261236" y="2042570"/>
                      </a:lnTo>
                      <a:lnTo>
                        <a:pt x="1261236" y="1761057"/>
                      </a:lnTo>
                      <a:lnTo>
                        <a:pt x="2004358" y="1761057"/>
                      </a:lnTo>
                      <a:close/>
                      <a:moveTo>
                        <a:pt x="2880216" y="2929508"/>
                      </a:moveTo>
                      <a:cubicBezTo>
                        <a:pt x="2487683" y="2929508"/>
                        <a:pt x="2214070" y="2650706"/>
                        <a:pt x="2214070" y="2148569"/>
                      </a:cubicBezTo>
                      <a:cubicBezTo>
                        <a:pt x="2214070" y="1646431"/>
                        <a:pt x="2486943" y="1364178"/>
                        <a:pt x="2880216" y="1364178"/>
                      </a:cubicBezTo>
                      <a:cubicBezTo>
                        <a:pt x="3273489" y="1364178"/>
                        <a:pt x="3546362" y="1641747"/>
                        <a:pt x="3546362" y="2144871"/>
                      </a:cubicBezTo>
                      <a:cubicBezTo>
                        <a:pt x="3546362" y="2647995"/>
                        <a:pt x="3272502" y="2930001"/>
                        <a:pt x="2880216" y="2930001"/>
                      </a:cubicBezTo>
                      <a:close/>
                    </a:path>
                  </a:pathLst>
                </a:custGeom>
                <a:grpFill/>
                <a:ln w="24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" name="Freeform 23"/>
                <p:cNvSpPr/>
                <p:nvPr/>
              </p:nvSpPr>
              <p:spPr>
                <a:xfrm>
                  <a:off x="13469866" y="6636447"/>
                  <a:ext cx="592129" cy="1002796"/>
                </a:xfrm>
                <a:custGeom>
                  <a:avLst/>
                  <a:gdLst>
                    <a:gd name="connsiteX0" fmla="*/ 296065 w 592129"/>
                    <a:gd name="connsiteY0" fmla="*/ 0 h 1002796"/>
                    <a:gd name="connsiteX1" fmla="*/ 0 w 592129"/>
                    <a:gd name="connsiteY1" fmla="*/ 503124 h 1002796"/>
                    <a:gd name="connsiteX2" fmla="*/ 296065 w 592129"/>
                    <a:gd name="connsiteY2" fmla="*/ 1002797 h 1002796"/>
                    <a:gd name="connsiteX3" fmla="*/ 592129 w 592129"/>
                    <a:gd name="connsiteY3" fmla="*/ 499426 h 1002796"/>
                    <a:gd name="connsiteX4" fmla="*/ 296065 w 592129"/>
                    <a:gd name="connsiteY4" fmla="*/ 0 h 1002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2129" h="1002796">
                      <a:moveTo>
                        <a:pt x="296065" y="0"/>
                      </a:moveTo>
                      <a:cubicBezTo>
                        <a:pt x="98688" y="0"/>
                        <a:pt x="0" y="152342"/>
                        <a:pt x="0" y="503124"/>
                      </a:cubicBezTo>
                      <a:cubicBezTo>
                        <a:pt x="0" y="850208"/>
                        <a:pt x="98688" y="1002797"/>
                        <a:pt x="296065" y="1002797"/>
                      </a:cubicBezTo>
                      <a:cubicBezTo>
                        <a:pt x="493441" y="1002797"/>
                        <a:pt x="592129" y="848976"/>
                        <a:pt x="592129" y="499426"/>
                      </a:cubicBezTo>
                      <a:cubicBezTo>
                        <a:pt x="592129" y="149877"/>
                        <a:pt x="493194" y="0"/>
                        <a:pt x="296065" y="0"/>
                      </a:cubicBezTo>
                      <a:close/>
                    </a:path>
                  </a:pathLst>
                </a:custGeom>
                <a:grpFill/>
                <a:ln w="24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1" name="Freeform 20"/>
              <p:cNvSpPr/>
              <p:nvPr/>
            </p:nvSpPr>
            <p:spPr>
              <a:xfrm>
                <a:off x="1825536" y="5816007"/>
                <a:ext cx="8391927" cy="2423918"/>
              </a:xfrm>
              <a:custGeom>
                <a:avLst/>
                <a:gdLst>
                  <a:gd name="connsiteX0" fmla="*/ 1023545 w 8391928"/>
                  <a:gd name="connsiteY0" fmla="*/ 281513 h 2423918"/>
                  <a:gd name="connsiteX1" fmla="*/ 860489 w 8391928"/>
                  <a:gd name="connsiteY1" fmla="*/ 281513 h 2423918"/>
                  <a:gd name="connsiteX2" fmla="*/ 407886 w 8391928"/>
                  <a:gd name="connsiteY2" fmla="*/ 653248 h 2423918"/>
                  <a:gd name="connsiteX3" fmla="*/ 738197 w 8391928"/>
                  <a:gd name="connsiteY3" fmla="*/ 1170916 h 2423918"/>
                  <a:gd name="connsiteX4" fmla="*/ 920770 w 8391928"/>
                  <a:gd name="connsiteY4" fmla="*/ 1294170 h 2423918"/>
                  <a:gd name="connsiteX5" fmla="*/ 392816 w 8391928"/>
                  <a:gd name="connsiteY5" fmla="*/ 2081025 h 2423918"/>
                  <a:gd name="connsiteX6" fmla="*/ 0 w 8391928"/>
                  <a:gd name="connsiteY6" fmla="*/ 2081025 h 2423918"/>
                  <a:gd name="connsiteX7" fmla="*/ 473355 w 8391928"/>
                  <a:gd name="connsiteY7" fmla="*/ 1376997 h 2423918"/>
                  <a:gd name="connsiteX8" fmla="*/ 47187 w 8391928"/>
                  <a:gd name="connsiteY8" fmla="*/ 673215 h 2423918"/>
                  <a:gd name="connsiteX9" fmla="*/ 856536 w 8391928"/>
                  <a:gd name="connsiteY9" fmla="*/ 0 h 2423918"/>
                  <a:gd name="connsiteX10" fmla="*/ 1383502 w 8391928"/>
                  <a:gd name="connsiteY10" fmla="*/ 0 h 2423918"/>
                  <a:gd name="connsiteX11" fmla="*/ 1383502 w 8391928"/>
                  <a:gd name="connsiteY11" fmla="*/ 2081025 h 2423918"/>
                  <a:gd name="connsiteX12" fmla="*/ 1022309 w 8391928"/>
                  <a:gd name="connsiteY12" fmla="*/ 2081025 h 2423918"/>
                  <a:gd name="connsiteX13" fmla="*/ 1022309 w 8391928"/>
                  <a:gd name="connsiteY13" fmla="*/ 281513 h 2423918"/>
                  <a:gd name="connsiteX14" fmla="*/ 2876449 w 8391928"/>
                  <a:gd name="connsiteY14" fmla="*/ 575105 h 2423918"/>
                  <a:gd name="connsiteX15" fmla="*/ 2876449 w 8391928"/>
                  <a:gd name="connsiteY15" fmla="*/ 2081025 h 2423918"/>
                  <a:gd name="connsiteX16" fmla="*/ 2519950 w 8391928"/>
                  <a:gd name="connsiteY16" fmla="*/ 2081025 h 2423918"/>
                  <a:gd name="connsiteX17" fmla="*/ 2519950 w 8391928"/>
                  <a:gd name="connsiteY17" fmla="*/ 1452675 h 2423918"/>
                  <a:gd name="connsiteX18" fmla="*/ 2043136 w 8391928"/>
                  <a:gd name="connsiteY18" fmla="*/ 1452675 h 2423918"/>
                  <a:gd name="connsiteX19" fmla="*/ 2043136 w 8391928"/>
                  <a:gd name="connsiteY19" fmla="*/ 2081025 h 2423918"/>
                  <a:gd name="connsiteX20" fmla="*/ 1686637 w 8391928"/>
                  <a:gd name="connsiteY20" fmla="*/ 2081025 h 2423918"/>
                  <a:gd name="connsiteX21" fmla="*/ 1686637 w 8391928"/>
                  <a:gd name="connsiteY21" fmla="*/ 575105 h 2423918"/>
                  <a:gd name="connsiteX22" fmla="*/ 2043136 w 8391928"/>
                  <a:gd name="connsiteY22" fmla="*/ 575105 h 2423918"/>
                  <a:gd name="connsiteX23" fmla="*/ 2043136 w 8391928"/>
                  <a:gd name="connsiteY23" fmla="*/ 1171409 h 2423918"/>
                  <a:gd name="connsiteX24" fmla="*/ 2519950 w 8391928"/>
                  <a:gd name="connsiteY24" fmla="*/ 1171409 h 2423918"/>
                  <a:gd name="connsiteX25" fmla="*/ 2519950 w 8391928"/>
                  <a:gd name="connsiteY25" fmla="*/ 575105 h 2423918"/>
                  <a:gd name="connsiteX26" fmla="*/ 4487241 w 8391928"/>
                  <a:gd name="connsiteY26" fmla="*/ 2423919 h 2423918"/>
                  <a:gd name="connsiteX27" fmla="*/ 4157424 w 8391928"/>
                  <a:gd name="connsiteY27" fmla="*/ 2423919 h 2423918"/>
                  <a:gd name="connsiteX28" fmla="*/ 4157424 w 8391928"/>
                  <a:gd name="connsiteY28" fmla="*/ 2078807 h 2423918"/>
                  <a:gd name="connsiteX29" fmla="*/ 3356228 w 8391928"/>
                  <a:gd name="connsiteY29" fmla="*/ 2078807 h 2423918"/>
                  <a:gd name="connsiteX30" fmla="*/ 3356228 w 8391928"/>
                  <a:gd name="connsiteY30" fmla="*/ 2423919 h 2423918"/>
                  <a:gd name="connsiteX31" fmla="*/ 3025917 w 8391928"/>
                  <a:gd name="connsiteY31" fmla="*/ 2423919 h 2423918"/>
                  <a:gd name="connsiteX32" fmla="*/ 3025917 w 8391928"/>
                  <a:gd name="connsiteY32" fmla="*/ 1799019 h 2423918"/>
                  <a:gd name="connsiteX33" fmla="*/ 3137585 w 8391928"/>
                  <a:gd name="connsiteY33" fmla="*/ 1799019 h 2423918"/>
                  <a:gd name="connsiteX34" fmla="*/ 3288041 w 8391928"/>
                  <a:gd name="connsiteY34" fmla="*/ 703535 h 2423918"/>
                  <a:gd name="connsiteX35" fmla="*/ 3288041 w 8391928"/>
                  <a:gd name="connsiteY35" fmla="*/ 574611 h 2423918"/>
                  <a:gd name="connsiteX36" fmla="*/ 4328880 w 8391928"/>
                  <a:gd name="connsiteY36" fmla="*/ 574611 h 2423918"/>
                  <a:gd name="connsiteX37" fmla="*/ 4328880 w 8391928"/>
                  <a:gd name="connsiteY37" fmla="*/ 1799019 h 2423918"/>
                  <a:gd name="connsiteX38" fmla="*/ 4487735 w 8391928"/>
                  <a:gd name="connsiteY38" fmla="*/ 1799019 h 2423918"/>
                  <a:gd name="connsiteX39" fmla="*/ 3972380 w 8391928"/>
                  <a:gd name="connsiteY39" fmla="*/ 857110 h 2423918"/>
                  <a:gd name="connsiteX40" fmla="*/ 3594635 w 8391928"/>
                  <a:gd name="connsiteY40" fmla="*/ 857110 h 2423918"/>
                  <a:gd name="connsiteX41" fmla="*/ 3594635 w 8391928"/>
                  <a:gd name="connsiteY41" fmla="*/ 901728 h 2423918"/>
                  <a:gd name="connsiteX42" fmla="*/ 3467896 w 8391928"/>
                  <a:gd name="connsiteY42" fmla="*/ 1800252 h 2423918"/>
                  <a:gd name="connsiteX43" fmla="*/ 3972380 w 8391928"/>
                  <a:gd name="connsiteY43" fmla="*/ 1800252 h 2423918"/>
                  <a:gd name="connsiteX44" fmla="*/ 5288931 w 8391928"/>
                  <a:gd name="connsiteY44" fmla="*/ 2110113 h 2423918"/>
                  <a:gd name="connsiteX45" fmla="*/ 4574698 w 8391928"/>
                  <a:gd name="connsiteY45" fmla="*/ 1331639 h 2423918"/>
                  <a:gd name="connsiteX46" fmla="*/ 5217039 w 8391928"/>
                  <a:gd name="connsiteY46" fmla="*/ 544784 h 2423918"/>
                  <a:gd name="connsiteX47" fmla="*/ 5804533 w 8391928"/>
                  <a:gd name="connsiteY47" fmla="*/ 1266314 h 2423918"/>
                  <a:gd name="connsiteX48" fmla="*/ 5804533 w 8391928"/>
                  <a:gd name="connsiteY48" fmla="*/ 1454401 h 2423918"/>
                  <a:gd name="connsiteX49" fmla="*/ 4943797 w 8391928"/>
                  <a:gd name="connsiteY49" fmla="*/ 1454401 h 2423918"/>
                  <a:gd name="connsiteX50" fmla="*/ 5318825 w 8391928"/>
                  <a:gd name="connsiteY50" fmla="*/ 1828847 h 2423918"/>
                  <a:gd name="connsiteX51" fmla="*/ 5789462 w 8391928"/>
                  <a:gd name="connsiteY51" fmla="*/ 1687597 h 2423918"/>
                  <a:gd name="connsiteX52" fmla="*/ 5789462 w 8391928"/>
                  <a:gd name="connsiteY52" fmla="*/ 1978724 h 2423918"/>
                  <a:gd name="connsiteX53" fmla="*/ 5288931 w 8391928"/>
                  <a:gd name="connsiteY53" fmla="*/ 2109620 h 2423918"/>
                  <a:gd name="connsiteX54" fmla="*/ 4943056 w 8391928"/>
                  <a:gd name="connsiteY54" fmla="*/ 1191622 h 2423918"/>
                  <a:gd name="connsiteX55" fmla="*/ 5441117 w 8391928"/>
                  <a:gd name="connsiteY55" fmla="*/ 1191622 h 2423918"/>
                  <a:gd name="connsiteX56" fmla="*/ 5441117 w 8391928"/>
                  <a:gd name="connsiteY56" fmla="*/ 1162041 h 2423918"/>
                  <a:gd name="connsiteX57" fmla="*/ 5209874 w 8391928"/>
                  <a:gd name="connsiteY57" fmla="*/ 827529 h 2423918"/>
                  <a:gd name="connsiteX58" fmla="*/ 4943797 w 8391928"/>
                  <a:gd name="connsiteY58" fmla="*/ 1191129 h 2423918"/>
                  <a:gd name="connsiteX59" fmla="*/ 6400674 w 8391928"/>
                  <a:gd name="connsiteY59" fmla="*/ 1341746 h 2423918"/>
                  <a:gd name="connsiteX60" fmla="*/ 6400674 w 8391928"/>
                  <a:gd name="connsiteY60" fmla="*/ 2081272 h 2423918"/>
                  <a:gd name="connsiteX61" fmla="*/ 6044175 w 8391928"/>
                  <a:gd name="connsiteY61" fmla="*/ 2081272 h 2423918"/>
                  <a:gd name="connsiteX62" fmla="*/ 6044175 w 8391928"/>
                  <a:gd name="connsiteY62" fmla="*/ 575105 h 2423918"/>
                  <a:gd name="connsiteX63" fmla="*/ 6401909 w 8391928"/>
                  <a:gd name="connsiteY63" fmla="*/ 575105 h 2423918"/>
                  <a:gd name="connsiteX64" fmla="*/ 6401909 w 8391928"/>
                  <a:gd name="connsiteY64" fmla="*/ 1269273 h 2423918"/>
                  <a:gd name="connsiteX65" fmla="*/ 6906888 w 8391928"/>
                  <a:gd name="connsiteY65" fmla="*/ 575105 h 2423918"/>
                  <a:gd name="connsiteX66" fmla="*/ 7267339 w 8391928"/>
                  <a:gd name="connsiteY66" fmla="*/ 575105 h 2423918"/>
                  <a:gd name="connsiteX67" fmla="*/ 6762855 w 8391928"/>
                  <a:gd name="connsiteY67" fmla="*/ 1269273 h 2423918"/>
                  <a:gd name="connsiteX68" fmla="*/ 7335527 w 8391928"/>
                  <a:gd name="connsiteY68" fmla="*/ 2079793 h 2423918"/>
                  <a:gd name="connsiteX69" fmla="*/ 6929864 w 8391928"/>
                  <a:gd name="connsiteY69" fmla="*/ 2079793 h 2423918"/>
                  <a:gd name="connsiteX70" fmla="*/ 7314773 w 8391928"/>
                  <a:gd name="connsiteY70" fmla="*/ 1329174 h 2423918"/>
                  <a:gd name="connsiteX71" fmla="*/ 8008007 w 8391928"/>
                  <a:gd name="connsiteY71" fmla="*/ 544784 h 2423918"/>
                  <a:gd name="connsiteX72" fmla="*/ 8391929 w 8391928"/>
                  <a:gd name="connsiteY72" fmla="*/ 616764 h 2423918"/>
                  <a:gd name="connsiteX73" fmla="*/ 8391929 w 8391928"/>
                  <a:gd name="connsiteY73" fmla="*/ 918491 h 2423918"/>
                  <a:gd name="connsiteX74" fmla="*/ 8046053 w 8391928"/>
                  <a:gd name="connsiteY74" fmla="*/ 825557 h 2423918"/>
                  <a:gd name="connsiteX75" fmla="*/ 7683378 w 8391928"/>
                  <a:gd name="connsiteY75" fmla="*/ 1320053 h 2423918"/>
                  <a:gd name="connsiteX76" fmla="*/ 8043583 w 8391928"/>
                  <a:gd name="connsiteY76" fmla="*/ 1829586 h 2423918"/>
                  <a:gd name="connsiteX77" fmla="*/ 8391435 w 8391928"/>
                  <a:gd name="connsiteY77" fmla="*/ 1727778 h 2423918"/>
                  <a:gd name="connsiteX78" fmla="*/ 8391435 w 8391928"/>
                  <a:gd name="connsiteY78" fmla="*/ 2017919 h 2423918"/>
                  <a:gd name="connsiteX79" fmla="*/ 8022336 w 8391928"/>
                  <a:gd name="connsiteY79" fmla="*/ 2110853 h 2423918"/>
                  <a:gd name="connsiteX80" fmla="*/ 7314032 w 8391928"/>
                  <a:gd name="connsiteY80" fmla="*/ 1328681 h 2423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8391928" h="2423918">
                    <a:moveTo>
                      <a:pt x="1023545" y="281513"/>
                    </a:moveTo>
                    <a:lnTo>
                      <a:pt x="860489" y="281513"/>
                    </a:lnTo>
                    <a:cubicBezTo>
                      <a:pt x="564024" y="281513"/>
                      <a:pt x="407886" y="431390"/>
                      <a:pt x="407886" y="653248"/>
                    </a:cubicBezTo>
                    <a:cubicBezTo>
                      <a:pt x="407886" y="904933"/>
                      <a:pt x="515849" y="1021285"/>
                      <a:pt x="738197" y="1170916"/>
                    </a:cubicBezTo>
                    <a:lnTo>
                      <a:pt x="920770" y="1294170"/>
                    </a:lnTo>
                    <a:lnTo>
                      <a:pt x="392816" y="2081025"/>
                    </a:lnTo>
                    <a:lnTo>
                      <a:pt x="0" y="2081025"/>
                    </a:lnTo>
                    <a:lnTo>
                      <a:pt x="473355" y="1376997"/>
                    </a:lnTo>
                    <a:cubicBezTo>
                      <a:pt x="200114" y="1182501"/>
                      <a:pt x="47187" y="994169"/>
                      <a:pt x="47187" y="673215"/>
                    </a:cubicBezTo>
                    <a:cubicBezTo>
                      <a:pt x="47187" y="271652"/>
                      <a:pt x="326358" y="0"/>
                      <a:pt x="856536" y="0"/>
                    </a:cubicBezTo>
                    <a:lnTo>
                      <a:pt x="1383502" y="0"/>
                    </a:lnTo>
                    <a:lnTo>
                      <a:pt x="1383502" y="2081025"/>
                    </a:lnTo>
                    <a:lnTo>
                      <a:pt x="1022309" y="2081025"/>
                    </a:lnTo>
                    <a:lnTo>
                      <a:pt x="1022309" y="281513"/>
                    </a:lnTo>
                    <a:close/>
                    <a:moveTo>
                      <a:pt x="2876449" y="575105"/>
                    </a:moveTo>
                    <a:lnTo>
                      <a:pt x="2876449" y="2081025"/>
                    </a:lnTo>
                    <a:lnTo>
                      <a:pt x="2519950" y="2081025"/>
                    </a:lnTo>
                    <a:lnTo>
                      <a:pt x="2519950" y="1452675"/>
                    </a:lnTo>
                    <a:lnTo>
                      <a:pt x="2043136" y="1452675"/>
                    </a:lnTo>
                    <a:lnTo>
                      <a:pt x="2043136" y="2081025"/>
                    </a:lnTo>
                    <a:lnTo>
                      <a:pt x="1686637" y="2081025"/>
                    </a:lnTo>
                    <a:lnTo>
                      <a:pt x="1686637" y="575105"/>
                    </a:lnTo>
                    <a:lnTo>
                      <a:pt x="2043136" y="575105"/>
                    </a:lnTo>
                    <a:lnTo>
                      <a:pt x="2043136" y="1171409"/>
                    </a:lnTo>
                    <a:lnTo>
                      <a:pt x="2519950" y="1171409"/>
                    </a:lnTo>
                    <a:lnTo>
                      <a:pt x="2519950" y="575105"/>
                    </a:lnTo>
                    <a:close/>
                    <a:moveTo>
                      <a:pt x="4487241" y="2423919"/>
                    </a:moveTo>
                    <a:lnTo>
                      <a:pt x="4157424" y="2423919"/>
                    </a:lnTo>
                    <a:lnTo>
                      <a:pt x="4157424" y="2078807"/>
                    </a:lnTo>
                    <a:lnTo>
                      <a:pt x="3356228" y="2078807"/>
                    </a:lnTo>
                    <a:lnTo>
                      <a:pt x="3356228" y="2423919"/>
                    </a:lnTo>
                    <a:lnTo>
                      <a:pt x="3025917" y="2423919"/>
                    </a:lnTo>
                    <a:lnTo>
                      <a:pt x="3025917" y="1799019"/>
                    </a:lnTo>
                    <a:lnTo>
                      <a:pt x="3137585" y="1799019"/>
                    </a:lnTo>
                    <a:cubicBezTo>
                      <a:pt x="3263089" y="1547581"/>
                      <a:pt x="3288041" y="1071573"/>
                      <a:pt x="3288041" y="703535"/>
                    </a:cubicBezTo>
                    <a:lnTo>
                      <a:pt x="3288041" y="574611"/>
                    </a:lnTo>
                    <a:lnTo>
                      <a:pt x="4328880" y="574611"/>
                    </a:lnTo>
                    <a:lnTo>
                      <a:pt x="4328880" y="1799019"/>
                    </a:lnTo>
                    <a:lnTo>
                      <a:pt x="4487735" y="1799019"/>
                    </a:lnTo>
                    <a:close/>
                    <a:moveTo>
                      <a:pt x="3972380" y="857110"/>
                    </a:moveTo>
                    <a:lnTo>
                      <a:pt x="3594635" y="857110"/>
                    </a:lnTo>
                    <a:lnTo>
                      <a:pt x="3594635" y="901728"/>
                    </a:lnTo>
                    <a:cubicBezTo>
                      <a:pt x="3594635" y="1161795"/>
                      <a:pt x="3567459" y="1572232"/>
                      <a:pt x="3467896" y="1800252"/>
                    </a:cubicBezTo>
                    <a:lnTo>
                      <a:pt x="3972380" y="1800252"/>
                    </a:lnTo>
                    <a:close/>
                    <a:moveTo>
                      <a:pt x="5288931" y="2110113"/>
                    </a:moveTo>
                    <a:cubicBezTo>
                      <a:pt x="4833117" y="2110113"/>
                      <a:pt x="4574698" y="1855963"/>
                      <a:pt x="4574698" y="1331639"/>
                    </a:cubicBezTo>
                    <a:cubicBezTo>
                      <a:pt x="4574698" y="876831"/>
                      <a:pt x="4782224" y="544784"/>
                      <a:pt x="5217039" y="544784"/>
                    </a:cubicBezTo>
                    <a:cubicBezTo>
                      <a:pt x="5573538" y="544784"/>
                      <a:pt x="5804533" y="741991"/>
                      <a:pt x="5804533" y="1266314"/>
                    </a:cubicBezTo>
                    <a:lnTo>
                      <a:pt x="5804533" y="1454401"/>
                    </a:lnTo>
                    <a:lnTo>
                      <a:pt x="4943797" y="1454401"/>
                    </a:lnTo>
                    <a:cubicBezTo>
                      <a:pt x="4958620" y="1706086"/>
                      <a:pt x="5057936" y="1828847"/>
                      <a:pt x="5318825" y="1828847"/>
                    </a:cubicBezTo>
                    <a:cubicBezTo>
                      <a:pt x="5485785" y="1826151"/>
                      <a:pt x="5648716" y="1777252"/>
                      <a:pt x="5789462" y="1687597"/>
                    </a:cubicBezTo>
                    <a:lnTo>
                      <a:pt x="5789462" y="1978724"/>
                    </a:lnTo>
                    <a:cubicBezTo>
                      <a:pt x="5685206" y="2050212"/>
                      <a:pt x="5517456" y="2109620"/>
                      <a:pt x="5288931" y="2109620"/>
                    </a:cubicBezTo>
                    <a:close/>
                    <a:moveTo>
                      <a:pt x="4943056" y="1191622"/>
                    </a:moveTo>
                    <a:lnTo>
                      <a:pt x="5441117" y="1191622"/>
                    </a:lnTo>
                    <a:lnTo>
                      <a:pt x="5441117" y="1162041"/>
                    </a:lnTo>
                    <a:cubicBezTo>
                      <a:pt x="5441117" y="973709"/>
                      <a:pt x="5386764" y="827529"/>
                      <a:pt x="5209874" y="827529"/>
                    </a:cubicBezTo>
                    <a:cubicBezTo>
                      <a:pt x="5039901" y="825557"/>
                      <a:pt x="4953679" y="952016"/>
                      <a:pt x="4943797" y="1191129"/>
                    </a:cubicBezTo>
                    <a:close/>
                    <a:moveTo>
                      <a:pt x="6400674" y="1341746"/>
                    </a:moveTo>
                    <a:lnTo>
                      <a:pt x="6400674" y="2081272"/>
                    </a:lnTo>
                    <a:lnTo>
                      <a:pt x="6044175" y="2081272"/>
                    </a:lnTo>
                    <a:lnTo>
                      <a:pt x="6044175" y="575105"/>
                    </a:lnTo>
                    <a:lnTo>
                      <a:pt x="6401909" y="575105"/>
                    </a:lnTo>
                    <a:lnTo>
                      <a:pt x="6401909" y="1269273"/>
                    </a:lnTo>
                    <a:lnTo>
                      <a:pt x="6906888" y="575105"/>
                    </a:lnTo>
                    <a:lnTo>
                      <a:pt x="7267339" y="575105"/>
                    </a:lnTo>
                    <a:lnTo>
                      <a:pt x="6762855" y="1269273"/>
                    </a:lnTo>
                    <a:lnTo>
                      <a:pt x="7335527" y="2079793"/>
                    </a:lnTo>
                    <a:lnTo>
                      <a:pt x="6929864" y="2079793"/>
                    </a:lnTo>
                    <a:close/>
                    <a:moveTo>
                      <a:pt x="7314773" y="1329174"/>
                    </a:moveTo>
                    <a:cubicBezTo>
                      <a:pt x="7314773" y="870668"/>
                      <a:pt x="7551945" y="544784"/>
                      <a:pt x="8008007" y="544784"/>
                    </a:cubicBezTo>
                    <a:cubicBezTo>
                      <a:pt x="8184897" y="544784"/>
                      <a:pt x="8317319" y="574365"/>
                      <a:pt x="8391929" y="616764"/>
                    </a:cubicBezTo>
                    <a:lnTo>
                      <a:pt x="8391929" y="918491"/>
                    </a:lnTo>
                    <a:cubicBezTo>
                      <a:pt x="8286478" y="858559"/>
                      <a:pt x="8167406" y="826565"/>
                      <a:pt x="8046053" y="825557"/>
                    </a:cubicBezTo>
                    <a:cubicBezTo>
                      <a:pt x="7812588" y="825557"/>
                      <a:pt x="7683378" y="992937"/>
                      <a:pt x="7683378" y="1320053"/>
                    </a:cubicBezTo>
                    <a:cubicBezTo>
                      <a:pt x="7683378" y="1631147"/>
                      <a:pt x="7788870" y="1829586"/>
                      <a:pt x="8043583" y="1829586"/>
                    </a:cubicBezTo>
                    <a:cubicBezTo>
                      <a:pt x="8193792" y="1829586"/>
                      <a:pt x="8302002" y="1790885"/>
                      <a:pt x="8391435" y="1727778"/>
                    </a:cubicBezTo>
                    <a:lnTo>
                      <a:pt x="8391435" y="2017919"/>
                    </a:lnTo>
                    <a:cubicBezTo>
                      <a:pt x="8304472" y="2081025"/>
                      <a:pt x="8187615" y="2110853"/>
                      <a:pt x="8022336" y="2110853"/>
                    </a:cubicBezTo>
                    <a:cubicBezTo>
                      <a:pt x="7545275" y="2110853"/>
                      <a:pt x="7314032" y="1832052"/>
                      <a:pt x="7314032" y="1328681"/>
                    </a:cubicBezTo>
                    <a:close/>
                  </a:path>
                </a:pathLst>
              </a:custGeom>
              <a:grpFill/>
              <a:ln w="247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7554974"/>
            <a:ext cx="12418695" cy="894759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0" i="0" baseline="0">
                <a:latin typeface="YS Text Medium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ru-RU"/>
              <a:t>Имя и Фамилия</a:t>
            </a:r>
            <a:endParaRPr lang="en-US"/>
          </a:p>
        </p:txBody>
      </p:sp>
      <p:sp>
        <p:nvSpPr>
          <p:cNvPr id="27" name="TextBox 26"/>
          <p:cNvSpPr txBox="1"/>
          <p:nvPr userDrawn="1"/>
        </p:nvSpPr>
        <p:spPr>
          <a:xfrm>
            <a:off x="3065780" y="5436876"/>
            <a:ext cx="12418695" cy="1421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828800">
              <a:spcBef>
                <a:spcPct val="0"/>
              </a:spcBef>
            </a:pPr>
            <a:r>
              <a:rPr lang="ru-RU" sz="6600">
                <a:latin typeface="+mj-lt"/>
                <a:ea typeface="+mj-ea"/>
                <a:cs typeface="+mj-cs"/>
              </a:rPr>
              <a:t>Контакты</a:t>
            </a:r>
            <a:endParaRPr lang="en-US" sz="6600" err="1">
              <a:latin typeface="+mj-lt"/>
              <a:ea typeface="+mj-ea"/>
              <a:cs typeface="+mj-cs"/>
            </a:endParaRP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5779" y="9002763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Должность</a:t>
            </a:r>
            <a:endParaRPr lang="en-US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65779" y="9781696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65779" y="10560630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Почт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Go_E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7554974"/>
            <a:ext cx="12418695" cy="894759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0" i="0" baseline="0">
                <a:latin typeface="YS Text Medium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en-US" dirty="0"/>
              <a:t>Name Surnam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065780" y="5436876"/>
            <a:ext cx="12418695" cy="1421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828800">
              <a:spcBef>
                <a:spcPct val="0"/>
              </a:spcBef>
            </a:pPr>
            <a:r>
              <a:rPr lang="en-US" sz="6600" dirty="0">
                <a:latin typeface="+mj-lt"/>
                <a:ea typeface="+mj-ea"/>
                <a:cs typeface="+mj-cs"/>
              </a:rPr>
              <a:t>Contact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5779" y="9002763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Position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65779" y="9781696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Phon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65779" y="10560630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-mail</a:t>
            </a:r>
          </a:p>
        </p:txBody>
      </p:sp>
      <p:grpSp>
        <p:nvGrpSpPr>
          <p:cNvPr id="3" name="Graphic 37"/>
          <p:cNvGrpSpPr/>
          <p:nvPr userDrawn="1"/>
        </p:nvGrpSpPr>
        <p:grpSpPr>
          <a:xfrm>
            <a:off x="2997964" y="1801297"/>
            <a:ext cx="4006257" cy="1120438"/>
            <a:chOff x="4484742" y="11950785"/>
            <a:chExt cx="9095345" cy="2543714"/>
          </a:xfrm>
          <a:solidFill>
            <a:schemeClr val="tx1"/>
          </a:solidFill>
        </p:grpSpPr>
        <p:sp>
          <p:nvSpPr>
            <p:cNvPr id="5" name="Freeform 4"/>
            <p:cNvSpPr/>
            <p:nvPr/>
          </p:nvSpPr>
          <p:spPr>
            <a:xfrm>
              <a:off x="10822028" y="11950785"/>
              <a:ext cx="2758059" cy="2543714"/>
            </a:xfrm>
            <a:custGeom>
              <a:avLst/>
              <a:gdLst>
                <a:gd name="connsiteX0" fmla="*/ 2497370 w 2758059"/>
                <a:gd name="connsiteY0" fmla="*/ 260298 h 2543714"/>
                <a:gd name="connsiteX1" fmla="*/ 1868140 w 2758059"/>
                <a:gd name="connsiteY1" fmla="*/ 0 h 2543714"/>
                <a:gd name="connsiteX2" fmla="*/ 879640 w 2758059"/>
                <a:gd name="connsiteY2" fmla="*/ 0 h 2543714"/>
                <a:gd name="connsiteX3" fmla="*/ 0 w 2758059"/>
                <a:gd name="connsiteY3" fmla="*/ 888818 h 2543714"/>
                <a:gd name="connsiteX4" fmla="*/ 0 w 2758059"/>
                <a:gd name="connsiteY4" fmla="*/ 1655064 h 2543714"/>
                <a:gd name="connsiteX5" fmla="*/ 889414 w 2758059"/>
                <a:gd name="connsiteY5" fmla="*/ 2543714 h 2543714"/>
                <a:gd name="connsiteX6" fmla="*/ 889920 w 2758059"/>
                <a:gd name="connsiteY6" fmla="*/ 2543714 h 2543714"/>
                <a:gd name="connsiteX7" fmla="*/ 1868140 w 2758059"/>
                <a:gd name="connsiteY7" fmla="*/ 2543714 h 2543714"/>
                <a:gd name="connsiteX8" fmla="*/ 2758060 w 2758059"/>
                <a:gd name="connsiteY8" fmla="*/ 1655569 h 2543714"/>
                <a:gd name="connsiteX9" fmla="*/ 2758060 w 2758059"/>
                <a:gd name="connsiteY9" fmla="*/ 1655064 h 2543714"/>
                <a:gd name="connsiteX10" fmla="*/ 2758060 w 2758059"/>
                <a:gd name="connsiteY10" fmla="*/ 888818 h 2543714"/>
                <a:gd name="connsiteX11" fmla="*/ 2497370 w 2758059"/>
                <a:gd name="connsiteY11" fmla="*/ 260298 h 2543714"/>
                <a:gd name="connsiteX12" fmla="*/ 1369003 w 2758059"/>
                <a:gd name="connsiteY12" fmla="*/ 1431134 h 2543714"/>
                <a:gd name="connsiteX13" fmla="*/ 871720 w 2758059"/>
                <a:gd name="connsiteY13" fmla="*/ 2000052 h 2543714"/>
                <a:gd name="connsiteX14" fmla="*/ 341240 w 2758059"/>
                <a:gd name="connsiteY14" fmla="*/ 1270342 h 2543714"/>
                <a:gd name="connsiteX15" fmla="*/ 944012 w 2758059"/>
                <a:gd name="connsiteY15" fmla="*/ 538275 h 2543714"/>
                <a:gd name="connsiteX16" fmla="*/ 1288117 w 2758059"/>
                <a:gd name="connsiteY16" fmla="*/ 628015 h 2543714"/>
                <a:gd name="connsiteX17" fmla="*/ 1288117 w 2758059"/>
                <a:gd name="connsiteY17" fmla="*/ 826185 h 2543714"/>
                <a:gd name="connsiteX18" fmla="*/ 955977 w 2758059"/>
                <a:gd name="connsiteY18" fmla="*/ 730552 h 2543714"/>
                <a:gd name="connsiteX19" fmla="*/ 591651 w 2758059"/>
                <a:gd name="connsiteY19" fmla="*/ 1270678 h 2543714"/>
                <a:gd name="connsiteX20" fmla="*/ 876270 w 2758059"/>
                <a:gd name="connsiteY20" fmla="*/ 1808111 h 2543714"/>
                <a:gd name="connsiteX21" fmla="*/ 1121794 w 2758059"/>
                <a:gd name="connsiteY21" fmla="*/ 1437700 h 2543714"/>
                <a:gd name="connsiteX22" fmla="*/ 1121794 w 2758059"/>
                <a:gd name="connsiteY22" fmla="*/ 1395103 h 2543714"/>
                <a:gd name="connsiteX23" fmla="*/ 861441 w 2758059"/>
                <a:gd name="connsiteY23" fmla="*/ 1395103 h 2543714"/>
                <a:gd name="connsiteX24" fmla="*/ 861441 w 2758059"/>
                <a:gd name="connsiteY24" fmla="*/ 1202826 h 2543714"/>
                <a:gd name="connsiteX25" fmla="*/ 1369003 w 2758059"/>
                <a:gd name="connsiteY25" fmla="*/ 1202826 h 2543714"/>
                <a:gd name="connsiteX26" fmla="*/ 1967226 w 2758059"/>
                <a:gd name="connsiteY26" fmla="*/ 2000893 h 2543714"/>
                <a:gd name="connsiteX27" fmla="*/ 1512240 w 2758059"/>
                <a:gd name="connsiteY27" fmla="*/ 1467502 h 2543714"/>
                <a:gd name="connsiteX28" fmla="*/ 1967226 w 2758059"/>
                <a:gd name="connsiteY28" fmla="*/ 931752 h 2543714"/>
                <a:gd name="connsiteX29" fmla="*/ 2422213 w 2758059"/>
                <a:gd name="connsiteY29" fmla="*/ 1464976 h 2543714"/>
                <a:gd name="connsiteX30" fmla="*/ 1967226 w 2758059"/>
                <a:gd name="connsiteY30" fmla="*/ 2001230 h 254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758059" h="2543714">
                  <a:moveTo>
                    <a:pt x="2497370" y="260298"/>
                  </a:moveTo>
                  <a:cubicBezTo>
                    <a:pt x="2330474" y="93590"/>
                    <a:pt x="2104126" y="-43"/>
                    <a:pt x="1868140" y="0"/>
                  </a:cubicBezTo>
                  <a:lnTo>
                    <a:pt x="879640" y="0"/>
                  </a:lnTo>
                  <a:cubicBezTo>
                    <a:pt x="388087" y="0"/>
                    <a:pt x="0" y="397855"/>
                    <a:pt x="0" y="888818"/>
                  </a:cubicBezTo>
                  <a:lnTo>
                    <a:pt x="0" y="1655064"/>
                  </a:lnTo>
                  <a:cubicBezTo>
                    <a:pt x="0" y="2145859"/>
                    <a:pt x="398197" y="2543714"/>
                    <a:pt x="889414" y="2543714"/>
                  </a:cubicBezTo>
                  <a:cubicBezTo>
                    <a:pt x="889582" y="2543714"/>
                    <a:pt x="889751" y="2543714"/>
                    <a:pt x="889920" y="2543714"/>
                  </a:cubicBezTo>
                  <a:lnTo>
                    <a:pt x="1868140" y="2543714"/>
                  </a:lnTo>
                  <a:cubicBezTo>
                    <a:pt x="2359357" y="2544000"/>
                    <a:pt x="2757774" y="2146364"/>
                    <a:pt x="2758060" y="1655569"/>
                  </a:cubicBezTo>
                  <a:cubicBezTo>
                    <a:pt x="2758060" y="1655401"/>
                    <a:pt x="2758060" y="1655232"/>
                    <a:pt x="2758060" y="1655064"/>
                  </a:cubicBezTo>
                  <a:lnTo>
                    <a:pt x="2758060" y="888818"/>
                  </a:lnTo>
                  <a:cubicBezTo>
                    <a:pt x="2758043" y="653055"/>
                    <a:pt x="2664266" y="426958"/>
                    <a:pt x="2497370" y="260298"/>
                  </a:cubicBezTo>
                  <a:close/>
                  <a:moveTo>
                    <a:pt x="1369003" y="1431134"/>
                  </a:moveTo>
                  <a:cubicBezTo>
                    <a:pt x="1369003" y="1790938"/>
                    <a:pt x="1196951" y="2000052"/>
                    <a:pt x="871720" y="2000052"/>
                  </a:cubicBezTo>
                  <a:cubicBezTo>
                    <a:pt x="536041" y="2000052"/>
                    <a:pt x="341240" y="1735881"/>
                    <a:pt x="341240" y="1270342"/>
                  </a:cubicBezTo>
                  <a:cubicBezTo>
                    <a:pt x="341240" y="815746"/>
                    <a:pt x="553904" y="538275"/>
                    <a:pt x="944012" y="538275"/>
                  </a:cubicBezTo>
                  <a:cubicBezTo>
                    <a:pt x="1091462" y="538275"/>
                    <a:pt x="1218521" y="577336"/>
                    <a:pt x="1288117" y="628015"/>
                  </a:cubicBezTo>
                  <a:lnTo>
                    <a:pt x="1288117" y="826185"/>
                  </a:lnTo>
                  <a:cubicBezTo>
                    <a:pt x="1188289" y="764443"/>
                    <a:pt x="1073380" y="731355"/>
                    <a:pt x="955977" y="730552"/>
                  </a:cubicBezTo>
                  <a:cubicBezTo>
                    <a:pt x="700005" y="730552"/>
                    <a:pt x="591651" y="904140"/>
                    <a:pt x="591651" y="1270678"/>
                  </a:cubicBezTo>
                  <a:cubicBezTo>
                    <a:pt x="591651" y="1626105"/>
                    <a:pt x="681469" y="1808111"/>
                    <a:pt x="876270" y="1808111"/>
                  </a:cubicBezTo>
                  <a:cubicBezTo>
                    <a:pt x="1062477" y="1808111"/>
                    <a:pt x="1121794" y="1665166"/>
                    <a:pt x="1121794" y="1437700"/>
                  </a:cubicBezTo>
                  <a:lnTo>
                    <a:pt x="1121794" y="1395103"/>
                  </a:lnTo>
                  <a:lnTo>
                    <a:pt x="861441" y="1395103"/>
                  </a:lnTo>
                  <a:lnTo>
                    <a:pt x="861441" y="1202826"/>
                  </a:lnTo>
                  <a:lnTo>
                    <a:pt x="1369003" y="1202826"/>
                  </a:lnTo>
                  <a:close/>
                  <a:moveTo>
                    <a:pt x="1967226" y="2000893"/>
                  </a:moveTo>
                  <a:cubicBezTo>
                    <a:pt x="1699121" y="2000893"/>
                    <a:pt x="1512240" y="1810468"/>
                    <a:pt x="1512240" y="1467502"/>
                  </a:cubicBezTo>
                  <a:cubicBezTo>
                    <a:pt x="1512240" y="1124534"/>
                    <a:pt x="1698616" y="931752"/>
                    <a:pt x="1967226" y="931752"/>
                  </a:cubicBezTo>
                  <a:cubicBezTo>
                    <a:pt x="2235837" y="931752"/>
                    <a:pt x="2422213" y="1121335"/>
                    <a:pt x="2422213" y="1464976"/>
                  </a:cubicBezTo>
                  <a:cubicBezTo>
                    <a:pt x="2422213" y="1808616"/>
                    <a:pt x="2235163" y="2001230"/>
                    <a:pt x="1967226" y="2001230"/>
                  </a:cubicBez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/>
            <p:cNvSpPr/>
            <p:nvPr/>
          </p:nvSpPr>
          <p:spPr>
            <a:xfrm>
              <a:off x="12587206" y="13074983"/>
              <a:ext cx="404432" cy="684923"/>
            </a:xfrm>
            <a:custGeom>
              <a:avLst/>
              <a:gdLst>
                <a:gd name="connsiteX0" fmla="*/ 202216 w 404432"/>
                <a:gd name="connsiteY0" fmla="*/ 0 h 684923"/>
                <a:gd name="connsiteX1" fmla="*/ 0 w 404432"/>
                <a:gd name="connsiteY1" fmla="*/ 343641 h 684923"/>
                <a:gd name="connsiteX2" fmla="*/ 202216 w 404432"/>
                <a:gd name="connsiteY2" fmla="*/ 684924 h 684923"/>
                <a:gd name="connsiteX3" fmla="*/ 404432 w 404432"/>
                <a:gd name="connsiteY3" fmla="*/ 341115 h 684923"/>
                <a:gd name="connsiteX4" fmla="*/ 202216 w 404432"/>
                <a:gd name="connsiteY4" fmla="*/ 0 h 68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432" h="684923">
                  <a:moveTo>
                    <a:pt x="202216" y="0"/>
                  </a:moveTo>
                  <a:cubicBezTo>
                    <a:pt x="67405" y="0"/>
                    <a:pt x="0" y="104052"/>
                    <a:pt x="0" y="343641"/>
                  </a:cubicBezTo>
                  <a:cubicBezTo>
                    <a:pt x="0" y="580704"/>
                    <a:pt x="67405" y="684924"/>
                    <a:pt x="202216" y="684924"/>
                  </a:cubicBezTo>
                  <a:cubicBezTo>
                    <a:pt x="337027" y="684924"/>
                    <a:pt x="404432" y="579862"/>
                    <a:pt x="404432" y="341115"/>
                  </a:cubicBezTo>
                  <a:cubicBezTo>
                    <a:pt x="404432" y="102368"/>
                    <a:pt x="336858" y="0"/>
                    <a:pt x="202216" y="0"/>
                  </a:cubicBez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4484742" y="12511790"/>
              <a:ext cx="5965376" cy="1438878"/>
            </a:xfrm>
            <a:custGeom>
              <a:avLst/>
              <a:gdLst>
                <a:gd name="connsiteX0" fmla="*/ 478073 w 5965376"/>
                <a:gd name="connsiteY0" fmla="*/ 1418506 h 1438878"/>
                <a:gd name="connsiteX1" fmla="*/ 478073 w 5965376"/>
                <a:gd name="connsiteY1" fmla="*/ 1275729 h 1438878"/>
                <a:gd name="connsiteX2" fmla="*/ 377976 w 5965376"/>
                <a:gd name="connsiteY2" fmla="*/ 818440 h 1438878"/>
                <a:gd name="connsiteX3" fmla="*/ 0 w 5965376"/>
                <a:gd name="connsiteY3" fmla="*/ 0 h 1438878"/>
                <a:gd name="connsiteX4" fmla="*/ 261533 w 5965376"/>
                <a:gd name="connsiteY4" fmla="*/ 0 h 1438878"/>
                <a:gd name="connsiteX5" fmla="*/ 581709 w 5965376"/>
                <a:gd name="connsiteY5" fmla="*/ 700077 h 1438878"/>
                <a:gd name="connsiteX6" fmla="*/ 716519 w 5965376"/>
                <a:gd name="connsiteY6" fmla="*/ 1245086 h 1438878"/>
                <a:gd name="connsiteX7" fmla="*/ 716519 w 5965376"/>
                <a:gd name="connsiteY7" fmla="*/ 1418506 h 1438878"/>
                <a:gd name="connsiteX8" fmla="*/ 631251 w 5965376"/>
                <a:gd name="connsiteY8" fmla="*/ 685766 h 1438878"/>
                <a:gd name="connsiteX9" fmla="*/ 929520 w 5965376"/>
                <a:gd name="connsiteY9" fmla="*/ 0 h 1438878"/>
                <a:gd name="connsiteX10" fmla="*/ 1180774 w 5965376"/>
                <a:gd name="connsiteY10" fmla="*/ 0 h 1438878"/>
                <a:gd name="connsiteX11" fmla="*/ 878461 w 5965376"/>
                <a:gd name="connsiteY11" fmla="*/ 685766 h 1438878"/>
                <a:gd name="connsiteX12" fmla="*/ 1895103 w 5965376"/>
                <a:gd name="connsiteY12" fmla="*/ 1167637 h 1438878"/>
                <a:gd name="connsiteX13" fmla="*/ 1907404 w 5965376"/>
                <a:gd name="connsiteY13" fmla="*/ 1418675 h 1438878"/>
                <a:gd name="connsiteX14" fmla="*/ 1671148 w 5965376"/>
                <a:gd name="connsiteY14" fmla="*/ 1418675 h 1438878"/>
                <a:gd name="connsiteX15" fmla="*/ 1652443 w 5965376"/>
                <a:gd name="connsiteY15" fmla="*/ 1337016 h 1438878"/>
                <a:gd name="connsiteX16" fmla="*/ 1642332 w 5965376"/>
                <a:gd name="connsiteY16" fmla="*/ 1337016 h 1438878"/>
                <a:gd name="connsiteX17" fmla="*/ 1390910 w 5965376"/>
                <a:gd name="connsiteY17" fmla="*/ 1432986 h 1438878"/>
                <a:gd name="connsiteX18" fmla="*/ 1076464 w 5965376"/>
                <a:gd name="connsiteY18" fmla="*/ 1108708 h 1438878"/>
                <a:gd name="connsiteX19" fmla="*/ 1613685 w 5965376"/>
                <a:gd name="connsiteY19" fmla="*/ 778032 h 1438878"/>
                <a:gd name="connsiteX20" fmla="*/ 1652443 w 5965376"/>
                <a:gd name="connsiteY20" fmla="*/ 778032 h 1438878"/>
                <a:gd name="connsiteX21" fmla="*/ 1652443 w 5965376"/>
                <a:gd name="connsiteY21" fmla="*/ 720450 h 1438878"/>
                <a:gd name="connsiteX22" fmla="*/ 1482919 w 5965376"/>
                <a:gd name="connsiteY22" fmla="*/ 568918 h 1438878"/>
                <a:gd name="connsiteX23" fmla="*/ 1149936 w 5965376"/>
                <a:gd name="connsiteY23" fmla="*/ 669939 h 1438878"/>
                <a:gd name="connsiteX24" fmla="*/ 1149936 w 5965376"/>
                <a:gd name="connsiteY24" fmla="*/ 467897 h 1438878"/>
                <a:gd name="connsiteX25" fmla="*/ 1511734 w 5965376"/>
                <a:gd name="connsiteY25" fmla="*/ 373947 h 1438878"/>
                <a:gd name="connsiteX26" fmla="*/ 1895608 w 5965376"/>
                <a:gd name="connsiteY26" fmla="*/ 716745 h 1438878"/>
                <a:gd name="connsiteX27" fmla="*/ 1652780 w 5965376"/>
                <a:gd name="connsiteY27" fmla="*/ 938992 h 1438878"/>
                <a:gd name="connsiteX28" fmla="*/ 1617729 w 5965376"/>
                <a:gd name="connsiteY28" fmla="*/ 938992 h 1438878"/>
                <a:gd name="connsiteX29" fmla="*/ 1325527 w 5965376"/>
                <a:gd name="connsiteY29" fmla="*/ 1102310 h 1438878"/>
                <a:gd name="connsiteX30" fmla="*/ 1478706 w 5965376"/>
                <a:gd name="connsiteY30" fmla="*/ 1255357 h 1438878"/>
                <a:gd name="connsiteX31" fmla="*/ 1652443 w 5965376"/>
                <a:gd name="connsiteY31" fmla="*/ 1173698 h 1438878"/>
                <a:gd name="connsiteX32" fmla="*/ 2336945 w 5965376"/>
                <a:gd name="connsiteY32" fmla="*/ 1418506 h 1438878"/>
                <a:gd name="connsiteX33" fmla="*/ 2093948 w 5965376"/>
                <a:gd name="connsiteY33" fmla="*/ 1418506 h 1438878"/>
                <a:gd name="connsiteX34" fmla="*/ 2093948 w 5965376"/>
                <a:gd name="connsiteY34" fmla="*/ 391457 h 1438878"/>
                <a:gd name="connsiteX35" fmla="*/ 2330879 w 5965376"/>
                <a:gd name="connsiteY35" fmla="*/ 391457 h 1438878"/>
                <a:gd name="connsiteX36" fmla="*/ 2336945 w 5965376"/>
                <a:gd name="connsiteY36" fmla="*/ 477325 h 1438878"/>
                <a:gd name="connsiteX37" fmla="*/ 2349415 w 5965376"/>
                <a:gd name="connsiteY37" fmla="*/ 477325 h 1438878"/>
                <a:gd name="connsiteX38" fmla="*/ 2629316 w 5965376"/>
                <a:gd name="connsiteY38" fmla="*/ 375294 h 1438878"/>
                <a:gd name="connsiteX39" fmla="*/ 2909048 w 5965376"/>
                <a:gd name="connsiteY39" fmla="*/ 669266 h 1438878"/>
                <a:gd name="connsiteX40" fmla="*/ 2909048 w 5965376"/>
                <a:gd name="connsiteY40" fmla="*/ 1418338 h 1438878"/>
                <a:gd name="connsiteX41" fmla="*/ 2666052 w 5965376"/>
                <a:gd name="connsiteY41" fmla="*/ 1418338 h 1438878"/>
                <a:gd name="connsiteX42" fmla="*/ 2666052 w 5965376"/>
                <a:gd name="connsiteY42" fmla="*/ 694352 h 1438878"/>
                <a:gd name="connsiteX43" fmla="*/ 2541352 w 5965376"/>
                <a:gd name="connsiteY43" fmla="*/ 580030 h 1438878"/>
                <a:gd name="connsiteX44" fmla="*/ 2337282 w 5965376"/>
                <a:gd name="connsiteY44" fmla="*/ 681051 h 1438878"/>
                <a:gd name="connsiteX45" fmla="*/ 3072506 w 5965376"/>
                <a:gd name="connsiteY45" fmla="*/ 912222 h 1438878"/>
                <a:gd name="connsiteX46" fmla="*/ 3470872 w 5965376"/>
                <a:gd name="connsiteY46" fmla="*/ 371421 h 1438878"/>
                <a:gd name="connsiteX47" fmla="*/ 3728361 w 5965376"/>
                <a:gd name="connsiteY47" fmla="*/ 512346 h 1438878"/>
                <a:gd name="connsiteX48" fmla="*/ 3728361 w 5965376"/>
                <a:gd name="connsiteY48" fmla="*/ 0 h 1438878"/>
                <a:gd name="connsiteX49" fmla="*/ 3971357 w 5965376"/>
                <a:gd name="connsiteY49" fmla="*/ 0 h 1438878"/>
                <a:gd name="connsiteX50" fmla="*/ 3971357 w 5965376"/>
                <a:gd name="connsiteY50" fmla="*/ 1418506 h 1438878"/>
                <a:gd name="connsiteX51" fmla="*/ 3746729 w 5965376"/>
                <a:gd name="connsiteY51" fmla="*/ 1418506 h 1438878"/>
                <a:gd name="connsiteX52" fmla="*/ 3734427 w 5965376"/>
                <a:gd name="connsiteY52" fmla="*/ 1285832 h 1438878"/>
                <a:gd name="connsiteX53" fmla="*/ 3460593 w 5965376"/>
                <a:gd name="connsiteY53" fmla="*/ 1438879 h 1438878"/>
                <a:gd name="connsiteX54" fmla="*/ 3072506 w 5965376"/>
                <a:gd name="connsiteY54" fmla="*/ 912222 h 1438878"/>
                <a:gd name="connsiteX55" fmla="*/ 3323760 w 5965376"/>
                <a:gd name="connsiteY55" fmla="*/ 912222 h 1438878"/>
                <a:gd name="connsiteX56" fmla="*/ 3521932 w 5965376"/>
                <a:gd name="connsiteY56" fmla="*/ 1247107 h 1438878"/>
                <a:gd name="connsiteX57" fmla="*/ 3728361 w 5965376"/>
                <a:gd name="connsiteY57" fmla="*/ 904140 h 1438878"/>
                <a:gd name="connsiteX58" fmla="*/ 3532211 w 5965376"/>
                <a:gd name="connsiteY58" fmla="*/ 563362 h 1438878"/>
                <a:gd name="connsiteX59" fmla="*/ 3323760 w 5965376"/>
                <a:gd name="connsiteY59" fmla="*/ 912222 h 1438878"/>
                <a:gd name="connsiteX60" fmla="*/ 4612888 w 5965376"/>
                <a:gd name="connsiteY60" fmla="*/ 1438879 h 1438878"/>
                <a:gd name="connsiteX61" fmla="*/ 4126558 w 5965376"/>
                <a:gd name="connsiteY61" fmla="*/ 908181 h 1438878"/>
                <a:gd name="connsiteX62" fmla="*/ 4563850 w 5965376"/>
                <a:gd name="connsiteY62" fmla="*/ 371421 h 1438878"/>
                <a:gd name="connsiteX63" fmla="*/ 4964238 w 5965376"/>
                <a:gd name="connsiteY63" fmla="*/ 863395 h 1438878"/>
                <a:gd name="connsiteX64" fmla="*/ 4964238 w 5965376"/>
                <a:gd name="connsiteY64" fmla="*/ 992028 h 1438878"/>
                <a:gd name="connsiteX65" fmla="*/ 4377980 w 5965376"/>
                <a:gd name="connsiteY65" fmla="*/ 992028 h 1438878"/>
                <a:gd name="connsiteX66" fmla="*/ 4633278 w 5965376"/>
                <a:gd name="connsiteY66" fmla="*/ 1247107 h 1438878"/>
                <a:gd name="connsiteX67" fmla="*/ 4953454 w 5965376"/>
                <a:gd name="connsiteY67" fmla="*/ 1151137 h 1438878"/>
                <a:gd name="connsiteX68" fmla="*/ 4953454 w 5965376"/>
                <a:gd name="connsiteY68" fmla="*/ 1349138 h 1438878"/>
                <a:gd name="connsiteX69" fmla="*/ 4612888 w 5965376"/>
                <a:gd name="connsiteY69" fmla="*/ 1438879 h 1438878"/>
                <a:gd name="connsiteX70" fmla="*/ 4377980 w 5965376"/>
                <a:gd name="connsiteY70" fmla="*/ 812379 h 1438878"/>
                <a:gd name="connsiteX71" fmla="*/ 4717029 w 5965376"/>
                <a:gd name="connsiteY71" fmla="*/ 812379 h 1438878"/>
                <a:gd name="connsiteX72" fmla="*/ 4717029 w 5965376"/>
                <a:gd name="connsiteY72" fmla="*/ 791838 h 1438878"/>
                <a:gd name="connsiteX73" fmla="*/ 4559469 w 5965376"/>
                <a:gd name="connsiteY73" fmla="*/ 563193 h 1438878"/>
                <a:gd name="connsiteX74" fmla="*/ 4377980 w 5965376"/>
                <a:gd name="connsiteY74" fmla="*/ 812379 h 1438878"/>
                <a:gd name="connsiteX75" fmla="*/ 5473317 w 5965376"/>
                <a:gd name="connsiteY75" fmla="*/ 1071835 h 1438878"/>
                <a:gd name="connsiteX76" fmla="*/ 5266888 w 5965376"/>
                <a:gd name="connsiteY76" fmla="*/ 1418675 h 1438878"/>
                <a:gd name="connsiteX77" fmla="*/ 5019342 w 5965376"/>
                <a:gd name="connsiteY77" fmla="*/ 1418675 h 1438878"/>
                <a:gd name="connsiteX78" fmla="*/ 5341877 w 5965376"/>
                <a:gd name="connsiteY78" fmla="*/ 883767 h 1438878"/>
                <a:gd name="connsiteX79" fmla="*/ 5031307 w 5965376"/>
                <a:gd name="connsiteY79" fmla="*/ 391794 h 1438878"/>
                <a:gd name="connsiteX80" fmla="*/ 5304973 w 5965376"/>
                <a:gd name="connsiteY80" fmla="*/ 391794 h 1438878"/>
                <a:gd name="connsiteX81" fmla="*/ 5501123 w 5965376"/>
                <a:gd name="connsiteY81" fmla="*/ 701761 h 1438878"/>
                <a:gd name="connsiteX82" fmla="*/ 5676882 w 5965376"/>
                <a:gd name="connsiteY82" fmla="*/ 391457 h 1438878"/>
                <a:gd name="connsiteX83" fmla="*/ 5919878 w 5965376"/>
                <a:gd name="connsiteY83" fmla="*/ 391457 h 1438878"/>
                <a:gd name="connsiteX84" fmla="*/ 5630203 w 5965376"/>
                <a:gd name="connsiteY84" fmla="*/ 889828 h 1438878"/>
                <a:gd name="connsiteX85" fmla="*/ 5965377 w 5965376"/>
                <a:gd name="connsiteY85" fmla="*/ 1418506 h 1438878"/>
                <a:gd name="connsiteX86" fmla="*/ 5691543 w 5965376"/>
                <a:gd name="connsiteY86" fmla="*/ 1418506 h 1438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5965376" h="1438878">
                  <a:moveTo>
                    <a:pt x="478073" y="1418506"/>
                  </a:moveTo>
                  <a:lnTo>
                    <a:pt x="478073" y="1275729"/>
                  </a:lnTo>
                  <a:cubicBezTo>
                    <a:pt x="478073" y="1081769"/>
                    <a:pt x="455492" y="985799"/>
                    <a:pt x="377976" y="818440"/>
                  </a:cubicBezTo>
                  <a:lnTo>
                    <a:pt x="0" y="0"/>
                  </a:lnTo>
                  <a:lnTo>
                    <a:pt x="261533" y="0"/>
                  </a:lnTo>
                  <a:lnTo>
                    <a:pt x="581709" y="700077"/>
                  </a:lnTo>
                  <a:cubicBezTo>
                    <a:pt x="675739" y="903803"/>
                    <a:pt x="716519" y="1010380"/>
                    <a:pt x="716519" y="1245086"/>
                  </a:cubicBezTo>
                  <a:lnTo>
                    <a:pt x="716519" y="1418506"/>
                  </a:lnTo>
                  <a:close/>
                  <a:moveTo>
                    <a:pt x="631251" y="685766"/>
                  </a:moveTo>
                  <a:lnTo>
                    <a:pt x="929520" y="0"/>
                  </a:lnTo>
                  <a:lnTo>
                    <a:pt x="1180774" y="0"/>
                  </a:lnTo>
                  <a:lnTo>
                    <a:pt x="878461" y="685766"/>
                  </a:lnTo>
                  <a:close/>
                  <a:moveTo>
                    <a:pt x="1895103" y="1167637"/>
                  </a:moveTo>
                  <a:cubicBezTo>
                    <a:pt x="1895103" y="1251148"/>
                    <a:pt x="1899197" y="1334827"/>
                    <a:pt x="1907404" y="1418675"/>
                  </a:cubicBezTo>
                  <a:lnTo>
                    <a:pt x="1671148" y="1418675"/>
                  </a:lnTo>
                  <a:cubicBezTo>
                    <a:pt x="1661411" y="1392375"/>
                    <a:pt x="1655124" y="1364931"/>
                    <a:pt x="1652443" y="1337016"/>
                  </a:cubicBezTo>
                  <a:lnTo>
                    <a:pt x="1642332" y="1337016"/>
                  </a:lnTo>
                  <a:cubicBezTo>
                    <a:pt x="1595317" y="1386011"/>
                    <a:pt x="1533978" y="1432986"/>
                    <a:pt x="1390910" y="1432986"/>
                  </a:cubicBezTo>
                  <a:cubicBezTo>
                    <a:pt x="1203186" y="1432986"/>
                    <a:pt x="1076464" y="1316475"/>
                    <a:pt x="1076464" y="1108708"/>
                  </a:cubicBezTo>
                  <a:cubicBezTo>
                    <a:pt x="1076464" y="900941"/>
                    <a:pt x="1241944" y="778032"/>
                    <a:pt x="1613685" y="778032"/>
                  </a:cubicBezTo>
                  <a:lnTo>
                    <a:pt x="1652443" y="778032"/>
                  </a:lnTo>
                  <a:lnTo>
                    <a:pt x="1652443" y="720450"/>
                  </a:lnTo>
                  <a:cubicBezTo>
                    <a:pt x="1652443" y="610168"/>
                    <a:pt x="1599361" y="568918"/>
                    <a:pt x="1482919" y="568918"/>
                  </a:cubicBezTo>
                  <a:cubicBezTo>
                    <a:pt x="1358387" y="568918"/>
                    <a:pt x="1215319" y="621954"/>
                    <a:pt x="1149936" y="669939"/>
                  </a:cubicBezTo>
                  <a:lnTo>
                    <a:pt x="1149936" y="467897"/>
                  </a:lnTo>
                  <a:cubicBezTo>
                    <a:pt x="1260289" y="405634"/>
                    <a:pt x="1385004" y="373250"/>
                    <a:pt x="1511734" y="373947"/>
                  </a:cubicBezTo>
                  <a:cubicBezTo>
                    <a:pt x="1769055" y="373947"/>
                    <a:pt x="1895608" y="467897"/>
                    <a:pt x="1895608" y="716745"/>
                  </a:cubicBezTo>
                  <a:close/>
                  <a:moveTo>
                    <a:pt x="1652780" y="938992"/>
                  </a:moveTo>
                  <a:lnTo>
                    <a:pt x="1617729" y="938992"/>
                  </a:lnTo>
                  <a:cubicBezTo>
                    <a:pt x="1409278" y="938992"/>
                    <a:pt x="1325527" y="981758"/>
                    <a:pt x="1325527" y="1102310"/>
                  </a:cubicBezTo>
                  <a:cubicBezTo>
                    <a:pt x="1325527" y="1194071"/>
                    <a:pt x="1376081" y="1255357"/>
                    <a:pt x="1478706" y="1255357"/>
                  </a:cubicBezTo>
                  <a:cubicBezTo>
                    <a:pt x="1564479" y="1255357"/>
                    <a:pt x="1621774" y="1218316"/>
                    <a:pt x="1652443" y="1173698"/>
                  </a:cubicBezTo>
                  <a:close/>
                  <a:moveTo>
                    <a:pt x="2336945" y="1418506"/>
                  </a:moveTo>
                  <a:lnTo>
                    <a:pt x="2093948" y="1418506"/>
                  </a:lnTo>
                  <a:lnTo>
                    <a:pt x="2093948" y="391457"/>
                  </a:lnTo>
                  <a:lnTo>
                    <a:pt x="2330879" y="391457"/>
                  </a:lnTo>
                  <a:lnTo>
                    <a:pt x="2336945" y="477325"/>
                  </a:lnTo>
                  <a:lnTo>
                    <a:pt x="2349415" y="477325"/>
                  </a:lnTo>
                  <a:cubicBezTo>
                    <a:pt x="2398284" y="428330"/>
                    <a:pt x="2484226" y="375294"/>
                    <a:pt x="2629316" y="375294"/>
                  </a:cubicBezTo>
                  <a:cubicBezTo>
                    <a:pt x="2827319" y="375294"/>
                    <a:pt x="2909048" y="465203"/>
                    <a:pt x="2909048" y="669266"/>
                  </a:cubicBezTo>
                  <a:lnTo>
                    <a:pt x="2909048" y="1418338"/>
                  </a:lnTo>
                  <a:lnTo>
                    <a:pt x="2666052" y="1418338"/>
                  </a:lnTo>
                  <a:lnTo>
                    <a:pt x="2666052" y="694352"/>
                  </a:lnTo>
                  <a:cubicBezTo>
                    <a:pt x="2666052" y="616734"/>
                    <a:pt x="2627294" y="580030"/>
                    <a:pt x="2541352" y="580030"/>
                  </a:cubicBezTo>
                  <a:cubicBezTo>
                    <a:pt x="2461611" y="581423"/>
                    <a:pt x="2386707" y="618504"/>
                    <a:pt x="2337282" y="681051"/>
                  </a:cubicBezTo>
                  <a:close/>
                  <a:moveTo>
                    <a:pt x="3072506" y="912222"/>
                  </a:moveTo>
                  <a:cubicBezTo>
                    <a:pt x="3072506" y="569423"/>
                    <a:pt x="3235964" y="371421"/>
                    <a:pt x="3470872" y="371421"/>
                  </a:cubicBezTo>
                  <a:cubicBezTo>
                    <a:pt x="3575418" y="370350"/>
                    <a:pt x="3672970" y="423745"/>
                    <a:pt x="3728361" y="512346"/>
                  </a:cubicBezTo>
                  <a:lnTo>
                    <a:pt x="3728361" y="0"/>
                  </a:lnTo>
                  <a:lnTo>
                    <a:pt x="3971357" y="0"/>
                  </a:lnTo>
                  <a:lnTo>
                    <a:pt x="3971357" y="1418506"/>
                  </a:lnTo>
                  <a:lnTo>
                    <a:pt x="3746729" y="1418506"/>
                  </a:lnTo>
                  <a:lnTo>
                    <a:pt x="3734427" y="1285832"/>
                  </a:lnTo>
                  <a:cubicBezTo>
                    <a:pt x="3669044" y="1385843"/>
                    <a:pt x="3575013" y="1438879"/>
                    <a:pt x="3460593" y="1438879"/>
                  </a:cubicBezTo>
                  <a:cubicBezTo>
                    <a:pt x="3231920" y="1438879"/>
                    <a:pt x="3072506" y="1251148"/>
                    <a:pt x="3072506" y="912222"/>
                  </a:cubicBezTo>
                  <a:close/>
                  <a:moveTo>
                    <a:pt x="3323760" y="912222"/>
                  </a:moveTo>
                  <a:cubicBezTo>
                    <a:pt x="3323760" y="1145075"/>
                    <a:pt x="3389143" y="1247107"/>
                    <a:pt x="3521932" y="1247107"/>
                  </a:cubicBezTo>
                  <a:cubicBezTo>
                    <a:pt x="3658764" y="1247107"/>
                    <a:pt x="3728361" y="1143055"/>
                    <a:pt x="3728361" y="904140"/>
                  </a:cubicBezTo>
                  <a:cubicBezTo>
                    <a:pt x="3728361" y="665225"/>
                    <a:pt x="3663314" y="563362"/>
                    <a:pt x="3532211" y="563362"/>
                  </a:cubicBezTo>
                  <a:cubicBezTo>
                    <a:pt x="3393187" y="563362"/>
                    <a:pt x="3323760" y="669434"/>
                    <a:pt x="3323760" y="912222"/>
                  </a:cubicBezTo>
                  <a:close/>
                  <a:moveTo>
                    <a:pt x="4612888" y="1438879"/>
                  </a:moveTo>
                  <a:cubicBezTo>
                    <a:pt x="4302318" y="1438879"/>
                    <a:pt x="4126558" y="1265459"/>
                    <a:pt x="4126558" y="908181"/>
                  </a:cubicBezTo>
                  <a:cubicBezTo>
                    <a:pt x="4126558" y="598046"/>
                    <a:pt x="4267604" y="371421"/>
                    <a:pt x="4563850" y="371421"/>
                  </a:cubicBezTo>
                  <a:cubicBezTo>
                    <a:pt x="4807016" y="371421"/>
                    <a:pt x="4964238" y="506116"/>
                    <a:pt x="4964238" y="863395"/>
                  </a:cubicBezTo>
                  <a:lnTo>
                    <a:pt x="4964238" y="992028"/>
                  </a:lnTo>
                  <a:lnTo>
                    <a:pt x="4377980" y="992028"/>
                  </a:lnTo>
                  <a:cubicBezTo>
                    <a:pt x="4388091" y="1163428"/>
                    <a:pt x="4455496" y="1247107"/>
                    <a:pt x="4633278" y="1247107"/>
                  </a:cubicBezTo>
                  <a:cubicBezTo>
                    <a:pt x="4746789" y="1245053"/>
                    <a:pt x="4857553" y="1211850"/>
                    <a:pt x="4953454" y="1151137"/>
                  </a:cubicBezTo>
                  <a:lnTo>
                    <a:pt x="4953454" y="1349138"/>
                  </a:lnTo>
                  <a:cubicBezTo>
                    <a:pt x="4882509" y="1398134"/>
                    <a:pt x="4768931" y="1438879"/>
                    <a:pt x="4612888" y="1438879"/>
                  </a:cubicBezTo>
                  <a:close/>
                  <a:moveTo>
                    <a:pt x="4377980" y="812379"/>
                  </a:moveTo>
                  <a:lnTo>
                    <a:pt x="4717029" y="812379"/>
                  </a:lnTo>
                  <a:lnTo>
                    <a:pt x="4717029" y="791838"/>
                  </a:lnTo>
                  <a:cubicBezTo>
                    <a:pt x="4717029" y="663204"/>
                    <a:pt x="4679956" y="563193"/>
                    <a:pt x="4559469" y="563193"/>
                  </a:cubicBezTo>
                  <a:cubicBezTo>
                    <a:pt x="4443363" y="563362"/>
                    <a:pt x="4384047" y="649061"/>
                    <a:pt x="4377980" y="812379"/>
                  </a:cubicBezTo>
                  <a:close/>
                  <a:moveTo>
                    <a:pt x="5473317" y="1071835"/>
                  </a:moveTo>
                  <a:lnTo>
                    <a:pt x="5266888" y="1418675"/>
                  </a:lnTo>
                  <a:lnTo>
                    <a:pt x="5019342" y="1418675"/>
                  </a:lnTo>
                  <a:lnTo>
                    <a:pt x="5341877" y="883767"/>
                  </a:lnTo>
                  <a:lnTo>
                    <a:pt x="5031307" y="391794"/>
                  </a:lnTo>
                  <a:lnTo>
                    <a:pt x="5304973" y="391794"/>
                  </a:lnTo>
                  <a:lnTo>
                    <a:pt x="5501123" y="701761"/>
                  </a:lnTo>
                  <a:lnTo>
                    <a:pt x="5676882" y="391457"/>
                  </a:lnTo>
                  <a:lnTo>
                    <a:pt x="5919878" y="391457"/>
                  </a:lnTo>
                  <a:lnTo>
                    <a:pt x="5630203" y="889828"/>
                  </a:lnTo>
                  <a:lnTo>
                    <a:pt x="5965377" y="1418506"/>
                  </a:lnTo>
                  <a:lnTo>
                    <a:pt x="5691543" y="1418506"/>
                  </a:lnTo>
                  <a:close/>
                </a:path>
              </a:pathLst>
            </a:custGeom>
            <a:grpFill/>
            <a:ln w="168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Про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 flipH="1">
            <a:off x="-2" y="0"/>
            <a:ext cx="18486581" cy="13716000"/>
          </a:xfrm>
          <a:custGeom>
            <a:avLst/>
            <a:gdLst>
              <a:gd name="connsiteX0" fmla="*/ 1189407 w 12379554"/>
              <a:gd name="connsiteY0" fmla="*/ 0 h 13716000"/>
              <a:gd name="connsiteX1" fmla="*/ 12379554 w 12379554"/>
              <a:gd name="connsiteY1" fmla="*/ 0 h 13716000"/>
              <a:gd name="connsiteX2" fmla="*/ 12379554 w 12379554"/>
              <a:gd name="connsiteY2" fmla="*/ 13716000 h 13716000"/>
              <a:gd name="connsiteX3" fmla="*/ 6706246 w 12379554"/>
              <a:gd name="connsiteY3" fmla="*/ 13716000 h 13716000"/>
              <a:gd name="connsiteX4" fmla="*/ 6264862 w 12379554"/>
              <a:gd name="connsiteY4" fmla="*/ 13606913 h 13716000"/>
              <a:gd name="connsiteX5" fmla="*/ 894349 w 12379554"/>
              <a:gd name="connsiteY5" fmla="*/ 11032295 h 13716000"/>
              <a:gd name="connsiteX6" fmla="*/ 423967 w 12379554"/>
              <a:gd name="connsiteY6" fmla="*/ 10197252 h 13716000"/>
              <a:gd name="connsiteX7" fmla="*/ 832575 w 12379554"/>
              <a:gd name="connsiteY7" fmla="*/ 1934723 h 13716000"/>
              <a:gd name="connsiteX8" fmla="*/ 1122679 w 12379554"/>
              <a:gd name="connsiteY8" fmla="*/ 353653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79554" h="13716000">
                <a:moveTo>
                  <a:pt x="1189407" y="0"/>
                </a:moveTo>
                <a:lnTo>
                  <a:pt x="12379554" y="0"/>
                </a:lnTo>
                <a:lnTo>
                  <a:pt x="12379554" y="13716000"/>
                </a:lnTo>
                <a:lnTo>
                  <a:pt x="6706246" y="13716000"/>
                </a:lnTo>
                <a:lnTo>
                  <a:pt x="6264862" y="13606913"/>
                </a:lnTo>
                <a:cubicBezTo>
                  <a:pt x="3364295" y="12882491"/>
                  <a:pt x="1806790" y="12364152"/>
                  <a:pt x="894349" y="11032295"/>
                </a:cubicBezTo>
                <a:cubicBezTo>
                  <a:pt x="715559" y="10771398"/>
                  <a:pt x="558088" y="10491851"/>
                  <a:pt x="423967" y="10197252"/>
                </a:cubicBezTo>
                <a:cubicBezTo>
                  <a:pt x="-358440" y="8479261"/>
                  <a:pt x="38523" y="6297604"/>
                  <a:pt x="832575" y="1934723"/>
                </a:cubicBezTo>
                <a:cubicBezTo>
                  <a:pt x="934934" y="1372321"/>
                  <a:pt x="1030696" y="846158"/>
                  <a:pt x="1122679" y="353653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216000" rIns="90000" bIns="216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3200">
              <a:ln w="0"/>
              <a:solidFill>
                <a:schemeClr val="tx1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5780" y="7554974"/>
            <a:ext cx="12418695" cy="894759"/>
          </a:xfrm>
          <a:prstGeom prst="rect">
            <a:avLst/>
          </a:prstGeom>
        </p:spPr>
        <p:txBody>
          <a:bodyPr lIns="0" tIns="0" rIns="0" bIns="251999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0" i="0" baseline="0">
                <a:latin typeface="YS Text Medium" pitchFamily="2" charset="77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4565" indent="0" algn="ctr">
              <a:buNone/>
              <a:defRPr sz="3200"/>
            </a:lvl9pPr>
          </a:lstStyle>
          <a:p>
            <a:r>
              <a:rPr lang="ru-RU"/>
              <a:t>Имя и Фамилия</a:t>
            </a:r>
            <a:endParaRPr lang="en-US"/>
          </a:p>
        </p:txBody>
      </p:sp>
      <p:sp>
        <p:nvSpPr>
          <p:cNvPr id="27" name="TextBox 26"/>
          <p:cNvSpPr txBox="1"/>
          <p:nvPr userDrawn="1"/>
        </p:nvSpPr>
        <p:spPr>
          <a:xfrm>
            <a:off x="3065780" y="5436876"/>
            <a:ext cx="12418695" cy="1421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1828800">
              <a:spcBef>
                <a:spcPct val="0"/>
              </a:spcBef>
            </a:pPr>
            <a:r>
              <a:rPr lang="ru-RU" sz="6600">
                <a:latin typeface="+mj-lt"/>
                <a:ea typeface="+mj-ea"/>
                <a:cs typeface="+mj-cs"/>
              </a:rPr>
              <a:t>Контакты</a:t>
            </a:r>
            <a:endParaRPr lang="en-US" sz="6600" err="1">
              <a:latin typeface="+mj-lt"/>
              <a:ea typeface="+mj-ea"/>
              <a:cs typeface="+mj-cs"/>
            </a:endParaRP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5779" y="9002763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Должность</a:t>
            </a:r>
            <a:endParaRPr lang="en-US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65779" y="9781696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Телефон</a:t>
            </a:r>
            <a:endParaRPr lang="en-US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65779" y="10560630"/>
            <a:ext cx="12418695" cy="558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Почта</a:t>
            </a:r>
            <a:endParaRPr lang="en-US" dirty="0"/>
          </a:p>
        </p:txBody>
      </p:sp>
      <p:pic>
        <p:nvPicPr>
          <p:cNvPr id="3" name="Graphic 22" descr="Graphic 2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65780" y="1981012"/>
            <a:ext cx="4154191" cy="761602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1295316" y="516863"/>
            <a:ext cx="21029831" cy="2650990"/>
          </a:xfrm>
        </p:spPr>
        <p:txBody>
          <a:bodyPr anchor="ctr" anchorCtr="0">
            <a:normAutofit/>
          </a:bodyPr>
          <a:lstStyle>
            <a:lvl1pPr>
              <a:defRPr sz="4795" b="1"/>
            </a:lvl1pPr>
          </a:lstStyle>
          <a:p>
            <a:pPr>
              <a:defRPr/>
            </a:pPr>
            <a:r>
              <a:rPr lang="zh-CN"/>
              <a:t>Click to edit Master title style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 bwMode="auto">
          <a:xfrm>
            <a:off x="1295316" y="3651066"/>
            <a:ext cx="21029831" cy="8702232"/>
          </a:xfrm>
        </p:spPr>
        <p:txBody>
          <a:bodyPr>
            <a:normAutofit/>
          </a:bodyPr>
          <a:lstStyle>
            <a:lvl1pPr>
              <a:defRPr sz="399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3595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3195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3195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3195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>
              <a:defRPr/>
            </a:pPr>
            <a:r>
              <a:rPr lang="zh-CN"/>
              <a:t>Click to edit Master text styles</a:t>
            </a:r>
          </a:p>
          <a:p>
            <a:pPr lvl="1">
              <a:defRPr/>
            </a:pPr>
            <a:r>
              <a:rPr lang="zh-CN"/>
              <a:t>Second level</a:t>
            </a:r>
          </a:p>
          <a:p>
            <a:pPr lvl="2">
              <a:defRPr/>
            </a:pPr>
            <a:r>
              <a:rPr lang="zh-CN"/>
              <a:t>Third level</a:t>
            </a:r>
          </a:p>
          <a:p>
            <a:pPr lvl="3">
              <a:defRPr/>
            </a:pPr>
            <a:r>
              <a:rPr lang="zh-CN"/>
              <a:t>Fourth level</a:t>
            </a:r>
          </a:p>
          <a:p>
            <a:pPr lvl="4">
              <a:defRPr/>
            </a:pPr>
            <a:r>
              <a:rPr lang="zh-CN"/>
              <a:t>Fifth level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60FBDFE-C587-4B4C-A407-44438C67B59E}" type="datetimeFigureOut">
              <a:rPr lang="en-US" altLang="zh-CN"/>
              <a:t>6/1/24</a:t>
            </a:fld>
            <a:endParaRPr 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9AE70B2-8BF9-45C0-BB95-33D1B9D3A854}" type="slidenum">
              <a:rPr lang="en-US" altLang="zh-CN"/>
              <a:t>‹#›</a:t>
            </a:fld>
            <a:endParaRPr lang="zh-CN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нумераци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66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7600" y="12816067"/>
            <a:ext cx="20160000" cy="4252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800" b="0" i="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7" name="TextBox 1"/>
          <p:cNvSpPr>
            <a:spLocks noAdjustHandles="1"/>
          </p:cNvSpPr>
          <p:nvPr userDrawn="1"/>
        </p:nvSpPr>
        <p:spPr bwMode="auto">
          <a:xfrm>
            <a:off x="22345290" y="12975391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>
              <a:defRPr/>
            </a:pPr>
            <a:fld id="{BE3D2F9B-EE15-BC4D-95C9-0CB8D6880064}" type="slidenum">
              <a:rPr lang="ru-RU" sz="1800" b="0" i="0">
                <a:solidFill>
                  <a:schemeClr val="tx1"/>
                </a:solidFill>
                <a:latin typeface="+mn-lt"/>
              </a:rPr>
              <a:t>‹#›</a:t>
            </a:fld>
            <a:endParaRPr lang="ru-RU" sz="1800" b="0" i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Rounded Rectangle 3"/>
          <p:cNvSpPr>
            <a:spLocks noChangeAspect="1"/>
          </p:cNvSpPr>
          <p:nvPr userDrawn="1"/>
        </p:nvSpPr>
        <p:spPr>
          <a:xfrm>
            <a:off x="364154" y="770888"/>
            <a:ext cx="912189" cy="912189"/>
          </a:xfrm>
          <a:prstGeom prst="roundRect">
            <a:avLst>
              <a:gd name="adj" fmla="val 28788"/>
            </a:avLst>
          </a:prstGeom>
          <a:solidFill>
            <a:schemeClr val="bg2"/>
          </a:solidFill>
          <a:ln w="12700">
            <a:miter lim="400000"/>
          </a:ln>
          <a:effectLst/>
        </p:spPr>
        <p:txBody>
          <a:bodyPr lIns="89999" tIns="89999" rIns="89999" bIns="89999" rtlCol="0" anchor="ctr"/>
          <a:lstStyle/>
          <a:p>
            <a:pPr algn="ctr">
              <a:lnSpc>
                <a:spcPct val="90000"/>
              </a:lnSpc>
            </a:pPr>
            <a:endParaRPr lang="en-GB" sz="3200"/>
          </a:p>
        </p:txBody>
      </p:sp>
      <p:sp>
        <p:nvSpPr>
          <p:cNvPr id="9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491632" y="919206"/>
            <a:ext cx="657232" cy="61555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 sz="4000">
                <a:latin typeface="+mj-lt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из 4х пунк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print"/>
          <a:srcRect/>
          <a:stretch>
            <a:fillRect/>
          </a:stretch>
        </p:blipFill>
        <p:spPr>
          <a:xfrm>
            <a:off x="6822832" y="0"/>
            <a:ext cx="17559582" cy="13716000"/>
          </a:xfrm>
          <a:prstGeom prst="rect">
            <a:avLst/>
          </a:prstGeom>
        </p:spPr>
      </p:pic>
      <p:sp>
        <p:nvSpPr>
          <p:cNvPr id="4" name="Round Single Corner of Rectangle 3"/>
          <p:cNvSpPr/>
          <p:nvPr userDrawn="1"/>
        </p:nvSpPr>
        <p:spPr>
          <a:xfrm>
            <a:off x="0" y="960124"/>
            <a:ext cx="12881093" cy="12755875"/>
          </a:xfrm>
          <a:prstGeom prst="round1Rect">
            <a:avLst>
              <a:gd name="adj" fmla="val 9499"/>
            </a:avLst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22" hasCustomPrompt="1"/>
          </p:nvPr>
        </p:nvSpPr>
        <p:spPr>
          <a:xfrm>
            <a:off x="3368675" y="4142343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1</a:t>
            </a:r>
            <a:endParaRPr lang="en-US" dirty="0"/>
          </a:p>
        </p:txBody>
      </p:sp>
      <p:sp>
        <p:nvSpPr>
          <p:cNvPr id="5" name="Round Single Corner of Rectangle 4"/>
          <p:cNvSpPr/>
          <p:nvPr userDrawn="1"/>
        </p:nvSpPr>
        <p:spPr>
          <a:xfrm flipV="1">
            <a:off x="0" y="-10"/>
            <a:ext cx="11450122" cy="2620257"/>
          </a:xfrm>
          <a:prstGeom prst="round1Rect">
            <a:avLst>
              <a:gd name="adj" fmla="val 42620"/>
            </a:avLst>
          </a:prstGeom>
          <a:solidFill>
            <a:schemeClr val="bg1"/>
          </a:solidFill>
          <a:ln w="19050">
            <a:noFill/>
          </a:ln>
          <a:effectLst>
            <a:outerShdw blurRad="762000" dist="1143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9502675" cy="1015663"/>
          </a:xfrm>
        </p:spPr>
        <p:txBody>
          <a:bodyPr vert="horz" tIns="0">
            <a:spAutoFit/>
          </a:bodyPr>
          <a:lstStyle/>
          <a:p>
            <a:r>
              <a:rPr lang="ru-RU" dirty="0"/>
              <a:t>Содержание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1587500" y="389612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587500" y="6156309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1587500" y="853989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1587500" y="10923476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9" name="Text Placeholder 37"/>
          <p:cNvSpPr>
            <a:spLocks noGrp="1"/>
          </p:cNvSpPr>
          <p:nvPr>
            <p:ph type="body" sz="quarter" idx="23" hasCustomPrompt="1"/>
          </p:nvPr>
        </p:nvSpPr>
        <p:spPr>
          <a:xfrm>
            <a:off x="3368675" y="6402530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2</a:t>
            </a:r>
            <a:endParaRPr lang="en-US" dirty="0"/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24" hasCustomPrompt="1"/>
          </p:nvPr>
        </p:nvSpPr>
        <p:spPr>
          <a:xfrm>
            <a:off x="3368675" y="8786113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3</a:t>
            </a:r>
            <a:endParaRPr lang="en-US" dirty="0"/>
          </a:p>
        </p:txBody>
      </p:sp>
      <p:sp>
        <p:nvSpPr>
          <p:cNvPr id="41" name="Text Placeholder 37"/>
          <p:cNvSpPr>
            <a:spLocks noGrp="1"/>
          </p:cNvSpPr>
          <p:nvPr>
            <p:ph type="body" sz="quarter" idx="25" hasCustomPrompt="1"/>
          </p:nvPr>
        </p:nvSpPr>
        <p:spPr>
          <a:xfrm>
            <a:off x="3368675" y="11169697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4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 из 4х пунк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DC42332-2E66-953D-C533-AA52BA2B52E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08095" y="0"/>
            <a:ext cx="20574000" cy="13716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 Single Corner of Rectangle 3"/>
          <p:cNvSpPr/>
          <p:nvPr userDrawn="1"/>
        </p:nvSpPr>
        <p:spPr>
          <a:xfrm>
            <a:off x="0" y="960124"/>
            <a:ext cx="12881093" cy="12755875"/>
          </a:xfrm>
          <a:prstGeom prst="round1Rect">
            <a:avLst>
              <a:gd name="adj" fmla="val 9499"/>
            </a:avLst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22" hasCustomPrompt="1"/>
          </p:nvPr>
        </p:nvSpPr>
        <p:spPr>
          <a:xfrm>
            <a:off x="3368675" y="4142343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1</a:t>
            </a:r>
            <a:endParaRPr lang="en-US" dirty="0"/>
          </a:p>
        </p:txBody>
      </p:sp>
      <p:sp>
        <p:nvSpPr>
          <p:cNvPr id="5" name="Round Single Corner of Rectangle 4"/>
          <p:cNvSpPr/>
          <p:nvPr userDrawn="1"/>
        </p:nvSpPr>
        <p:spPr>
          <a:xfrm flipV="1">
            <a:off x="0" y="-10"/>
            <a:ext cx="11450122" cy="2620257"/>
          </a:xfrm>
          <a:prstGeom prst="round1Rect">
            <a:avLst>
              <a:gd name="adj" fmla="val 42620"/>
            </a:avLst>
          </a:prstGeom>
          <a:solidFill>
            <a:schemeClr val="bg1"/>
          </a:solidFill>
          <a:ln w="19050">
            <a:noFill/>
          </a:ln>
          <a:effectLst>
            <a:outerShdw blurRad="762000" dist="1143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9502675" cy="1015663"/>
          </a:xfrm>
        </p:spPr>
        <p:txBody>
          <a:bodyPr vert="horz" tIns="0">
            <a:spAutoFit/>
          </a:bodyPr>
          <a:lstStyle/>
          <a:p>
            <a:r>
              <a:rPr lang="ru-RU" dirty="0"/>
              <a:t>Содержание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1587500" y="389612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587500" y="6156309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1587500" y="853989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1587500" y="10923476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9" name="Text Placeholder 37"/>
          <p:cNvSpPr>
            <a:spLocks noGrp="1"/>
          </p:cNvSpPr>
          <p:nvPr>
            <p:ph type="body" sz="quarter" idx="23" hasCustomPrompt="1"/>
          </p:nvPr>
        </p:nvSpPr>
        <p:spPr>
          <a:xfrm>
            <a:off x="3368675" y="6402530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2</a:t>
            </a:r>
            <a:endParaRPr lang="en-US" dirty="0"/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24" hasCustomPrompt="1"/>
          </p:nvPr>
        </p:nvSpPr>
        <p:spPr>
          <a:xfrm>
            <a:off x="3368675" y="8786113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3</a:t>
            </a:r>
            <a:endParaRPr lang="en-US" dirty="0"/>
          </a:p>
        </p:txBody>
      </p:sp>
      <p:sp>
        <p:nvSpPr>
          <p:cNvPr id="41" name="Text Placeholder 37"/>
          <p:cNvSpPr>
            <a:spLocks noGrp="1"/>
          </p:cNvSpPr>
          <p:nvPr>
            <p:ph type="body" sz="quarter" idx="25" hasCustomPrompt="1"/>
          </p:nvPr>
        </p:nvSpPr>
        <p:spPr>
          <a:xfrm>
            <a:off x="3368675" y="11169697"/>
            <a:ext cx="7721600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941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из 8ми пунк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 cstate="print"/>
          <a:srcRect r="7686"/>
          <a:stretch>
            <a:fillRect/>
          </a:stretch>
        </p:blipFill>
        <p:spPr>
          <a:xfrm>
            <a:off x="8172450" y="0"/>
            <a:ext cx="16209963" cy="13716000"/>
          </a:xfrm>
          <a:prstGeom prst="rect">
            <a:avLst/>
          </a:prstGeom>
        </p:spPr>
      </p:pic>
      <p:sp>
        <p:nvSpPr>
          <p:cNvPr id="9" name="Round Single Corner of Rectangle 8"/>
          <p:cNvSpPr/>
          <p:nvPr userDrawn="1"/>
        </p:nvSpPr>
        <p:spPr>
          <a:xfrm>
            <a:off x="-1" y="960124"/>
            <a:ext cx="19878675" cy="12755875"/>
          </a:xfrm>
          <a:prstGeom prst="round1Rect">
            <a:avLst>
              <a:gd name="adj" fmla="val 9499"/>
            </a:avLst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5" name="Round Single Corner of Rectangle 4"/>
          <p:cNvSpPr/>
          <p:nvPr userDrawn="1"/>
        </p:nvSpPr>
        <p:spPr>
          <a:xfrm flipV="1">
            <a:off x="0" y="-10"/>
            <a:ext cx="11450122" cy="2620257"/>
          </a:xfrm>
          <a:prstGeom prst="round1Rect">
            <a:avLst>
              <a:gd name="adj" fmla="val 42620"/>
            </a:avLst>
          </a:prstGeom>
          <a:solidFill>
            <a:schemeClr val="bg1"/>
          </a:solidFill>
          <a:ln w="19050">
            <a:noFill/>
          </a:ln>
          <a:effectLst>
            <a:outerShdw blurRad="762000" dist="114300" dir="2700000" sx="102000" sy="102000" algn="tl" rotWithShape="0">
              <a:schemeClr val="tx1"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1587600" y="740444"/>
            <a:ext cx="9502675" cy="1015663"/>
          </a:xfrm>
        </p:spPr>
        <p:txBody>
          <a:bodyPr vert="horz" tIns="0">
            <a:spAutoFit/>
          </a:bodyPr>
          <a:lstStyle/>
          <a:p>
            <a:r>
              <a:rPr lang="ru-RU"/>
              <a:t>Содержание</a:t>
            </a:r>
            <a:endParaRPr lang="en-GB" dirty="0"/>
          </a:p>
        </p:txBody>
      </p:sp>
      <p:sp>
        <p:nvSpPr>
          <p:cNvPr id="25" name="Text Placeholder 37"/>
          <p:cNvSpPr>
            <a:spLocks noGrp="1"/>
          </p:cNvSpPr>
          <p:nvPr>
            <p:ph type="body" sz="quarter" idx="22" hasCustomPrompt="1"/>
          </p:nvPr>
        </p:nvSpPr>
        <p:spPr>
          <a:xfrm>
            <a:off x="3368674" y="4142343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1</a:t>
            </a:r>
            <a:endParaRPr lang="en-US" dirty="0"/>
          </a:p>
        </p:txBody>
      </p:sp>
      <p:sp>
        <p:nvSpPr>
          <p:cNvPr id="26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1587500" y="389612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27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587500" y="6156309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28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1587500" y="853989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29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1587500" y="10923476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0" name="Text Placeholder 37"/>
          <p:cNvSpPr>
            <a:spLocks noGrp="1"/>
          </p:cNvSpPr>
          <p:nvPr>
            <p:ph type="body" sz="quarter" idx="23" hasCustomPrompt="1"/>
          </p:nvPr>
        </p:nvSpPr>
        <p:spPr>
          <a:xfrm>
            <a:off x="3368674" y="6402530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2</a:t>
            </a:r>
            <a:endParaRPr lang="en-US" dirty="0"/>
          </a:p>
        </p:txBody>
      </p:sp>
      <p:sp>
        <p:nvSpPr>
          <p:cNvPr id="31" name="Text Placeholder 37"/>
          <p:cNvSpPr>
            <a:spLocks noGrp="1"/>
          </p:cNvSpPr>
          <p:nvPr>
            <p:ph type="body" sz="quarter" idx="24" hasCustomPrompt="1"/>
          </p:nvPr>
        </p:nvSpPr>
        <p:spPr>
          <a:xfrm>
            <a:off x="3368674" y="8786113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3</a:t>
            </a:r>
            <a:endParaRPr lang="en-US" dirty="0"/>
          </a:p>
        </p:txBody>
      </p:sp>
      <p:sp>
        <p:nvSpPr>
          <p:cNvPr id="32" name="Text Placeholder 37"/>
          <p:cNvSpPr>
            <a:spLocks noGrp="1"/>
          </p:cNvSpPr>
          <p:nvPr>
            <p:ph type="body" sz="quarter" idx="25" hasCustomPrompt="1"/>
          </p:nvPr>
        </p:nvSpPr>
        <p:spPr>
          <a:xfrm>
            <a:off x="3368674" y="11169697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4</a:t>
            </a:r>
            <a:endParaRPr lang="en-US" dirty="0"/>
          </a:p>
        </p:txBody>
      </p:sp>
      <p:sp>
        <p:nvSpPr>
          <p:cNvPr id="33" name="Text Placeholder 37"/>
          <p:cNvSpPr>
            <a:spLocks noGrp="1"/>
          </p:cNvSpPr>
          <p:nvPr>
            <p:ph type="body" sz="quarter" idx="26" hasCustomPrompt="1"/>
          </p:nvPr>
        </p:nvSpPr>
        <p:spPr>
          <a:xfrm>
            <a:off x="12603114" y="4142343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5</a:t>
            </a:r>
            <a:endParaRPr lang="en-US" dirty="0"/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7" hasCustomPrompt="1"/>
          </p:nvPr>
        </p:nvSpPr>
        <p:spPr>
          <a:xfrm>
            <a:off x="10821940" y="389612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8" hasCustomPrompt="1"/>
          </p:nvPr>
        </p:nvSpPr>
        <p:spPr>
          <a:xfrm>
            <a:off x="10821940" y="6156309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9" hasCustomPrompt="1"/>
          </p:nvPr>
        </p:nvSpPr>
        <p:spPr>
          <a:xfrm>
            <a:off x="10821940" y="8539892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7" name="Text Placeholder 32"/>
          <p:cNvSpPr>
            <a:spLocks noGrp="1"/>
          </p:cNvSpPr>
          <p:nvPr>
            <p:ph type="body" sz="quarter" idx="30" hasCustomPrompt="1"/>
          </p:nvPr>
        </p:nvSpPr>
        <p:spPr>
          <a:xfrm>
            <a:off x="10821940" y="10923476"/>
            <a:ext cx="1468438" cy="1231106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8000">
                <a:latin typeface="+mj-lt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31" hasCustomPrompt="1"/>
          </p:nvPr>
        </p:nvSpPr>
        <p:spPr>
          <a:xfrm>
            <a:off x="12603114" y="6402530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6</a:t>
            </a:r>
            <a:endParaRPr lang="en-US" dirty="0"/>
          </a:p>
        </p:txBody>
      </p:sp>
      <p:sp>
        <p:nvSpPr>
          <p:cNvPr id="39" name="Text Placeholder 37"/>
          <p:cNvSpPr>
            <a:spLocks noGrp="1"/>
          </p:cNvSpPr>
          <p:nvPr>
            <p:ph type="body" sz="quarter" idx="32" hasCustomPrompt="1"/>
          </p:nvPr>
        </p:nvSpPr>
        <p:spPr>
          <a:xfrm>
            <a:off x="12603114" y="8786113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7</a:t>
            </a:r>
            <a:endParaRPr lang="en-US" dirty="0"/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33" hasCustomPrompt="1"/>
          </p:nvPr>
        </p:nvSpPr>
        <p:spPr>
          <a:xfrm>
            <a:off x="12603114" y="11169697"/>
            <a:ext cx="6272113" cy="738664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ru-RU" dirty="0"/>
              <a:t>Пункт 8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 на желтом фон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505326" y="4203427"/>
            <a:ext cx="16558531" cy="53091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15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Название секции </a:t>
            </a:r>
            <a:br>
              <a:rPr lang="ru-RU" dirty="0"/>
            </a:br>
            <a:r>
              <a:rPr lang="ru-RU" dirty="0"/>
              <a:t>или раздела презентации</a:t>
            </a:r>
          </a:p>
        </p:txBody>
      </p:sp>
      <p:sp>
        <p:nvSpPr>
          <p:cNvPr id="6" name="Rounded Rectangle 5"/>
          <p:cNvSpPr/>
          <p:nvPr userDrawn="1"/>
        </p:nvSpPr>
        <p:spPr>
          <a:xfrm rot="5400000">
            <a:off x="1673545" y="4087698"/>
            <a:ext cx="1836882" cy="1938718"/>
          </a:xfrm>
          <a:prstGeom prst="roundRect">
            <a:avLst>
              <a:gd name="adj" fmla="val 21234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>
              <a:ln w="0"/>
              <a:solidFill>
                <a:schemeClr val="tx1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878707" y="4549226"/>
            <a:ext cx="1426559" cy="1015663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defRPr lang="en-US" sz="6600" kern="1200" dirty="0">
                <a:solidFill>
                  <a:sysClr val="windowText" lastClr="000000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ХХ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7763510" imgH="10049510" progId="TCLayout.ActiveDocument.1">
                  <p:embed/>
                </p:oleObj>
              </mc:Choice>
              <mc:Fallback>
                <p:oleObj name="think-cell Slide" r:id="rId45" imgW="7763510" imgH="1004951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87600" y="547141"/>
            <a:ext cx="21232812" cy="2554323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/>
          <a:p>
            <a:r>
              <a:rPr lang="ru-RU"/>
              <a:t>Образец </a:t>
            </a:r>
            <a:br>
              <a:rPr lang="ru-RU"/>
            </a:br>
            <a:r>
              <a:rPr lang="ru-RU"/>
              <a:t>заголовк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1587600" y="3651250"/>
            <a:ext cx="21232812" cy="8702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90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9" r:id="rId32"/>
    <p:sldLayoutId id="2147483680" r:id="rId33"/>
    <p:sldLayoutId id="2147483681" r:id="rId34"/>
    <p:sldLayoutId id="2147483682" r:id="rId35"/>
    <p:sldLayoutId id="2147483683" r:id="rId36"/>
    <p:sldLayoutId id="2147483684" r:id="rId37"/>
    <p:sldLayoutId id="2147483685" r:id="rId38"/>
    <p:sldLayoutId id="2147483686" r:id="rId39"/>
    <p:sldLayoutId id="2147483687" r:id="rId40"/>
    <p:sldLayoutId id="2147483688" r:id="rId41"/>
    <p:sldLayoutId id="2147483689" r:id="rId42"/>
  </p:sldLayoutIdLst>
  <p:hf sldNum="0" hdr="0" dt="0"/>
  <p:txStyles>
    <p:titleStyle>
      <a:lvl1pPr marL="0" algn="l" defTabSz="1828800" rtl="0" eaLnBrk="1" latinLnBrk="0" hangingPunct="1">
        <a:lnSpc>
          <a:spcPct val="100000"/>
        </a:lnSpc>
        <a:spcBef>
          <a:spcPct val="0"/>
        </a:spcBef>
        <a:buNone/>
        <a:defRPr sz="6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>
          <a:solidFill>
            <a:schemeClr val="tx1"/>
          </a:solidFill>
          <a:latin typeface="YS Text Light" pitchFamily="2" charset="77"/>
          <a:ea typeface="+mn-ea"/>
          <a:cs typeface="+mn-cs"/>
        </a:defRPr>
      </a:lvl1pPr>
      <a:lvl2pPr marL="0" marR="0" indent="0" algn="l" defTabSz="1908175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20000"/>
        <a:buFont typeface="Arial Unicode MS" panose="020B0604020202020204" pitchFamily="34" charset="-128"/>
        <a:buNone/>
        <a:defRPr sz="3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461010" marR="0" indent="-457200" algn="l" defTabSz="18288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80604020202020204" pitchFamily="34" charset="0"/>
        <a:buChar char="•"/>
        <a:defRPr sz="3200" b="0" i="0" kern="1200">
          <a:solidFill>
            <a:schemeClr val="tx1"/>
          </a:solidFill>
          <a:latin typeface="YS Text Light" pitchFamily="2" charset="77"/>
          <a:ea typeface="+mn-ea"/>
          <a:cs typeface="+mn-cs"/>
        </a:defRPr>
      </a:lvl3pPr>
      <a:lvl4pPr marL="1080135" indent="-4572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System Font Regular"/>
        <a:buChar char="−"/>
        <a:defRPr sz="3200" b="0" i="0" kern="1200">
          <a:solidFill>
            <a:schemeClr val="tx1"/>
          </a:solidFill>
          <a:latin typeface="YS Text Light" pitchFamily="2" charset="77"/>
          <a:ea typeface="+mn-ea"/>
          <a:cs typeface="+mn-cs"/>
        </a:defRPr>
      </a:lvl4pPr>
      <a:lvl5pPr marL="0" indent="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Tx/>
        <a:buNone/>
        <a:defRPr sz="3200" b="0" i="0" kern="1200" baseline="0">
          <a:solidFill>
            <a:schemeClr val="tx1"/>
          </a:solidFill>
          <a:latin typeface="YS Text Light" pitchFamily="2" charset="77"/>
          <a:ea typeface="+mn-ea"/>
          <a:cs typeface="+mn-cs"/>
        </a:defRPr>
      </a:lvl5pPr>
      <a:lvl6pPr marL="5028565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965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65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765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965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365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765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5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565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peps.python.org/pep-0659/" TargetMode="External"/><Relationship Id="rId3" Type="http://schemas.openxmlformats.org/officeDocument/2006/relationships/notesSlide" Target="../notesSlides/notesSlide10.xml"/><Relationship Id="rId7" Type="http://schemas.openxmlformats.org/officeDocument/2006/relationships/hyperlink" Target="https://peps.python.org/pep-0590/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hyperlink" Target="https://peps.python.org/pep-0523/" TargetMode="External"/><Relationship Id="rId11" Type="http://schemas.openxmlformats.org/officeDocument/2006/relationships/image" Target="../media/image25.png"/><Relationship Id="rId5" Type="http://schemas.openxmlformats.org/officeDocument/2006/relationships/image" Target="../media/image24.emf"/><Relationship Id="rId10" Type="http://schemas.openxmlformats.org/officeDocument/2006/relationships/hyperlink" Target="https://peps.python.org/pep-0744/" TargetMode="External"/><Relationship Id="rId4" Type="http://schemas.openxmlformats.org/officeDocument/2006/relationships/oleObject" Target="../embeddings/oleObject43.bin"/><Relationship Id="rId9" Type="http://schemas.openxmlformats.org/officeDocument/2006/relationships/hyperlink" Target="https://peps.python.org/pep-0703/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peps.python.org/pep-0669/" TargetMode="External"/><Relationship Id="rId3" Type="http://schemas.openxmlformats.org/officeDocument/2006/relationships/notesSlide" Target="../notesSlides/notesSlide11.xml"/><Relationship Id="rId7" Type="http://schemas.openxmlformats.org/officeDocument/2006/relationships/hyperlink" Target="https://peps.python.org/pep-0657/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hyperlink" Target="https://peps.python.org/pep-0626/" TargetMode="External"/><Relationship Id="rId5" Type="http://schemas.openxmlformats.org/officeDocument/2006/relationships/image" Target="../media/image24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44.bin"/><Relationship Id="rId9" Type="http://schemas.openxmlformats.org/officeDocument/2006/relationships/hyperlink" Target="https://github.com/brandtbucher/specialist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python.org/3.12/howto/perf_profiling.html#perf-profiling" TargetMode="External"/><Relationship Id="rId3" Type="http://schemas.openxmlformats.org/officeDocument/2006/relationships/notesSlide" Target="../notesSlides/notesSlide12.xml"/><Relationship Id="rId7" Type="http://schemas.openxmlformats.org/officeDocument/2006/relationships/hyperlink" Target="https://docs.python.org/3/library/tracemalloc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hyperlink" Target="https://docs.python.org/3/library/profile.html" TargetMode="Externa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5.bin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kcachegrind.sourceforge.net/" TargetMode="External"/><Relationship Id="rId13" Type="http://schemas.openxmlformats.org/officeDocument/2006/relationships/hyperlink" Target="https://github.com/fabianp/memory_profiler" TargetMode="External"/><Relationship Id="rId3" Type="http://schemas.openxmlformats.org/officeDocument/2006/relationships/notesSlide" Target="../notesSlides/notesSlide13.xml"/><Relationship Id="rId7" Type="http://schemas.openxmlformats.org/officeDocument/2006/relationships/hyperlink" Target="http://docs.python.org/2/library/hotshot.html" TargetMode="External"/><Relationship Id="rId12" Type="http://schemas.openxmlformats.org/officeDocument/2006/relationships/hyperlink" Target="https://bitbucket.org/robertkern/line_profiler" TargetMode="Externa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8.jpg"/><Relationship Id="rId1" Type="http://schemas.openxmlformats.org/officeDocument/2006/relationships/tags" Target="../tags/tag47.xml"/><Relationship Id="rId6" Type="http://schemas.openxmlformats.org/officeDocument/2006/relationships/hyperlink" Target="https://habr.com/ru/companies/vk/articles/202832/" TargetMode="External"/><Relationship Id="rId11" Type="http://schemas.openxmlformats.org/officeDocument/2006/relationships/hyperlink" Target="https://github.com/gak/pycallgraph/" TargetMode="External"/><Relationship Id="rId5" Type="http://schemas.openxmlformats.org/officeDocument/2006/relationships/image" Target="../media/image24.emf"/><Relationship Id="rId15" Type="http://schemas.openxmlformats.org/officeDocument/2006/relationships/hyperlink" Target="http://jmdana.github.io/memprof/" TargetMode="External"/><Relationship Id="rId10" Type="http://schemas.openxmlformats.org/officeDocument/2006/relationships/hyperlink" Target="https://code.google.com/p/jrfonseca/wiki/Gprof2Dot" TargetMode="External"/><Relationship Id="rId4" Type="http://schemas.openxmlformats.org/officeDocument/2006/relationships/oleObject" Target="../embeddings/oleObject45.bin"/><Relationship Id="rId9" Type="http://schemas.openxmlformats.org/officeDocument/2006/relationships/hyperlink" Target="http://www.vrplumber.com/programming/runsnakerun/" TargetMode="External"/><Relationship Id="rId14" Type="http://schemas.openxmlformats.org/officeDocument/2006/relationships/hyperlink" Target="http://guppy-pe.sourceforge.net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realpython.com/python-profiling" TargetMode="External"/><Relationship Id="rId13" Type="http://schemas.openxmlformats.org/officeDocument/2006/relationships/hyperlink" Target="https://github.com/jiffyclub/snakeviz" TargetMode="External"/><Relationship Id="rId3" Type="http://schemas.openxmlformats.org/officeDocument/2006/relationships/notesSlide" Target="../notesSlides/notesSlide14.xml"/><Relationship Id="rId7" Type="http://schemas.openxmlformats.org/officeDocument/2006/relationships/hyperlink" Target="https://habr.com/ru/companies/ruvds/articles/757336/" TargetMode="External"/><Relationship Id="rId12" Type="http://schemas.openxmlformats.org/officeDocument/2006/relationships/hyperlink" Target="https://github.com/csurfer/pyheat" TargetMode="External"/><Relationship Id="rId17" Type="http://schemas.openxmlformats.org/officeDocument/2006/relationships/image" Target="../media/image29.jpg"/><Relationship Id="rId2" Type="http://schemas.openxmlformats.org/officeDocument/2006/relationships/slideLayout" Target="../slideLayouts/slideLayout4.xml"/><Relationship Id="rId16" Type="http://schemas.openxmlformats.org/officeDocument/2006/relationships/hyperlink" Target="https://github.com/joerick/pyinstrument" TargetMode="External"/><Relationship Id="rId1" Type="http://schemas.openxmlformats.org/officeDocument/2006/relationships/tags" Target="../tags/tag48.xml"/><Relationship Id="rId6" Type="http://schemas.openxmlformats.org/officeDocument/2006/relationships/hyperlink" Target="https://habr.com/ru/companies/wunderfund/articles/656571/" TargetMode="External"/><Relationship Id="rId11" Type="http://schemas.openxmlformats.org/officeDocument/2006/relationships/hyperlink" Target="https://github.com/pythonprofilers/memory_profiler" TargetMode="External"/><Relationship Id="rId5" Type="http://schemas.openxmlformats.org/officeDocument/2006/relationships/image" Target="../media/image24.emf"/><Relationship Id="rId15" Type="http://schemas.openxmlformats.org/officeDocument/2006/relationships/hyperlink" Target="https://github.com/sumerc/yappi" TargetMode="External"/><Relationship Id="rId10" Type="http://schemas.openxmlformats.org/officeDocument/2006/relationships/hyperlink" Target="https://github.com/pyutils/line_profiler" TargetMode="External"/><Relationship Id="rId4" Type="http://schemas.openxmlformats.org/officeDocument/2006/relationships/oleObject" Target="../embeddings/oleObject45.bin"/><Relationship Id="rId9" Type="http://schemas.openxmlformats.org/officeDocument/2006/relationships/hyperlink" Target="https://github.com/benfred/py-spy" TargetMode="External"/><Relationship Id="rId14" Type="http://schemas.openxmlformats.org/officeDocument/2006/relationships/hyperlink" Target="https://code.google.com/p/jrfonseca/wiki/Gprof2Dot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github.com/plasma-umass/scalene" TargetMode="Externa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github.com/benfred/py-spy%0d" TargetMode="External"/><Relationship Id="rId4" Type="http://schemas.openxmlformats.org/officeDocument/2006/relationships/hyperlink" Target="https://github.com/benfred/py-spy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loomberg/memray" TargetMode="External"/><Relationship Id="rId7" Type="http://schemas.openxmlformats.org/officeDocument/2006/relationships/image" Target="../media/image36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hyperlink" Target="https://github.com/bloomberg/pystack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hyperlink" Target="https://billing.yandex.cloud/accounts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yandex.cloud/ru/docs/tutorials/web/flask" TargetMode="External"/><Relationship Id="rId2" Type="http://schemas.openxmlformats.org/officeDocument/2006/relationships/hyperlink" Target="https://console.cloud.yandex.ru/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github.com/astral-sh/rye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1.1.1.1:5000/" TargetMode="External"/><Relationship Id="rId7" Type="http://schemas.openxmlformats.org/officeDocument/2006/relationships/image" Target="../media/image47.png"/><Relationship Id="rId2" Type="http://schemas.openxmlformats.org/officeDocument/2006/relationships/hyperlink" Target="https://github.com/litestar-org/litestar" TargetMode="Externa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hyperlink" Target="http://1.1.1.1:5000/books/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hyperlink" Target="https://disk.yandex.ru/d/YAm7WsN7q8BVbw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7.jp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4" Type="http://schemas.openxmlformats.org/officeDocument/2006/relationships/image" Target="../media/image7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Сергей</a:t>
            </a:r>
            <a:r>
              <a:rPr lang="en-US" dirty="0"/>
              <a:t> </a:t>
            </a:r>
            <a:r>
              <a:rPr lang="en-US" dirty="0" err="1"/>
              <a:t>Яхницкий</a:t>
            </a:r>
            <a:endParaRPr lang="en-US" dirty="0"/>
          </a:p>
          <a:p>
            <a:r>
              <a:rPr lang="en-US" dirty="0" err="1"/>
              <a:t>Яндекс.Такси</a:t>
            </a:r>
            <a:r>
              <a:rPr lang="en-US" dirty="0"/>
              <a:t> </a:t>
            </a:r>
            <a:r>
              <a:rPr lang="en-US" dirty="0" err="1"/>
              <a:t>Технологии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65780" y="4434205"/>
            <a:ext cx="14661515" cy="3426460"/>
          </a:xfrm>
        </p:spPr>
        <p:txBody>
          <a:bodyPr/>
          <a:lstStyle/>
          <a:p>
            <a:r>
              <a:rPr lang="ru-RU" dirty="0"/>
              <a:t>Оптимизировать </a:t>
            </a:r>
            <a:r>
              <a:rPr lang="en-US" dirty="0"/>
              <a:t>Python?</a:t>
            </a:r>
            <a:br>
              <a:rPr lang="en-US" dirty="0"/>
            </a:br>
            <a:r>
              <a:rPr lang="ru-RU" dirty="0"/>
              <a:t>Зачем?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9920F-1D0B-52D9-7299-8D0CD47A2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еправд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540D13-54C0-D647-D5E6-3783D2AD1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4A30C-12CC-A7BA-F7E3-4C9106AF762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0DA59F-CFF0-FEDE-4266-02EDFA6523FF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4990306" y="2117160"/>
            <a:ext cx="14401800" cy="94816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3778766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0D742-CE4B-7540-A8EB-660474C77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 что сейчас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FC69E1-C095-E432-A344-FA19465007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DA8CC2-9A5A-CE2D-7BC8-8A9B30C9850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400" dirty="0"/>
              <a:t>Профилируем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400" dirty="0"/>
              <a:t>Оптимизируем</a:t>
            </a:r>
            <a:endParaRPr lang="en-US" sz="4400" dirty="0"/>
          </a:p>
          <a:p>
            <a:r>
              <a:rPr lang="en-US" sz="4400" dirty="0"/>
              <a:t>…</a:t>
            </a:r>
            <a:endParaRPr lang="ru-RU" sz="4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400" dirty="0"/>
              <a:t>Profit!</a:t>
            </a:r>
            <a:endParaRPr lang="ru-RU" sz="4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548C43-09B5-D2B5-97A3-BEAAC42B25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4866" y="2760980"/>
            <a:ext cx="11923554" cy="880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77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05326" y="4203427"/>
            <a:ext cx="16558531" cy="3539430"/>
          </a:xfrm>
        </p:spPr>
        <p:txBody>
          <a:bodyPr/>
          <a:lstStyle/>
          <a:p>
            <a:r>
              <a:rPr lang="ru-RU" dirty="0">
                <a:sym typeface="+mn-ea"/>
              </a:rPr>
              <a:t>История профилировани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78707" y="4549375"/>
            <a:ext cx="1426559" cy="1015365"/>
          </a:xfrm>
        </p:spPr>
        <p:txBody>
          <a:bodyPr/>
          <a:lstStyle/>
          <a:p>
            <a:r>
              <a:rPr lang="en-US" dirty="0"/>
              <a:t>01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888476" y="115642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Сложный</a:t>
            </a:r>
            <a:r>
              <a:rPr lang="en-US" b="0" dirty="0">
                <a:latin typeface="YS Text Medium" charset="0"/>
                <a:cs typeface="YS Text Medium" charset="0"/>
              </a:rPr>
              <a:t> </a:t>
            </a:r>
            <a:r>
              <a:rPr lang="en-US" b="0" dirty="0" err="1">
                <a:latin typeface="YS Text Medium" charset="0"/>
                <a:cs typeface="YS Text Medium" charset="0"/>
              </a:rPr>
              <a:t>CPython</a:t>
            </a:r>
            <a:endParaRPr lang="ru-RU" b="0" dirty="0">
              <a:latin typeface="YS Text Medium" charset="0"/>
              <a:cs typeface="YS Text Medium" charset="0"/>
            </a:endParaRPr>
          </a:p>
        </p:txBody>
      </p:sp>
      <p:sp>
        <p:nvSpPr>
          <p:cNvPr id="10" name="Content Placeholder 2"/>
          <p:cNvSpPr txBox="1"/>
          <p:nvPr/>
        </p:nvSpPr>
        <p:spPr bwMode="auto">
          <a:xfrm>
            <a:off x="1488892" y="2930884"/>
            <a:ext cx="9245783" cy="3829146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6" action="ppaction://hlinkfile"/>
              </a:rPr>
              <a:t>PEP 523 - Adding a frame evaluation API to </a:t>
            </a:r>
            <a:r>
              <a:rPr lang="en-US" sz="4200" dirty="0">
                <a:latin typeface="YS Text Regular" charset="0"/>
                <a:cs typeface="YS Text Regular" charset="0"/>
                <a:hlinkClick r:id="rId6" action="ppaction://hlinkfile"/>
              </a:rPr>
              <a:t>CPython</a:t>
            </a:r>
            <a:r>
              <a:rPr lang="en-US" sz="4200" dirty="0">
                <a:latin typeface="YS Text Regular" charset="0"/>
                <a:cs typeface="YS Text Regular" charset="0"/>
              </a:rPr>
              <a:t> - 3.6</a:t>
            </a:r>
            <a:endParaRPr lang="ru-RU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7" action="ppaction://hlinkfile"/>
              </a:rPr>
              <a:t>PEP 590 - Vectorcall: a fast calling protocol for CPython</a:t>
            </a:r>
            <a:r>
              <a:rPr lang="en-US" sz="4200" dirty="0">
                <a:latin typeface="YS Text Regular" charset="0"/>
                <a:cs typeface="YS Text Regular" charset="0"/>
              </a:rPr>
              <a:t> - 3.8</a:t>
            </a:r>
            <a:endParaRPr lang="ru-RU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8" action="ppaction://hlinkfile"/>
              </a:rPr>
              <a:t>PEP 659 - Specializing Adaptive Interpreter</a:t>
            </a:r>
            <a:r>
              <a:rPr lang="en-US" sz="4200" dirty="0">
                <a:latin typeface="YS Text Regular" charset="0"/>
                <a:cs typeface="YS Text Regular" charset="0"/>
              </a:rPr>
              <a:t> - 3.11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Bold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pitchFamily="2" charset="77"/>
                <a:cs typeface="YS Text Bold" charset="0"/>
                <a:hlinkClick r:id="rId9"/>
              </a:rPr>
              <a:t>PEP 703 – Making the Global Interpreter Lock Optional in </a:t>
            </a:r>
            <a:r>
              <a:rPr lang="en-US" sz="4200" u="sng" dirty="0" err="1">
                <a:latin typeface="YS Text Regular" pitchFamily="2" charset="77"/>
                <a:cs typeface="YS Text Bold" charset="0"/>
              </a:rPr>
              <a:t>CPython</a:t>
            </a:r>
            <a:r>
              <a:rPr lang="ru-RU" sz="4200" u="sng" dirty="0">
                <a:latin typeface="YS Text Regular" pitchFamily="2" charset="77"/>
                <a:cs typeface="YS Text Bold" charset="0"/>
              </a:rPr>
              <a:t> – 3.13</a:t>
            </a:r>
            <a:endParaRPr lang="ru-RU" sz="4200" u="sng" dirty="0">
              <a:latin typeface="YS Text Bold" charset="0"/>
              <a:cs typeface="YS Text Bold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0"/>
              </a:rPr>
              <a:t>PEP 744 – JIT Compilation - 3.13</a:t>
            </a:r>
            <a:endParaRPr lang="en-US" sz="4200" dirty="0">
              <a:latin typeface="YS Text Regular" charset="0"/>
              <a:cs typeface="YS Text Regular" charset="0"/>
            </a:endParaRPr>
          </a:p>
        </p:txBody>
      </p:sp>
      <p:grpSp>
        <p:nvGrpSpPr>
          <p:cNvPr id="4" name="Группа 1"/>
          <p:cNvGrpSpPr/>
          <p:nvPr/>
        </p:nvGrpSpPr>
        <p:grpSpPr>
          <a:xfrm>
            <a:off x="14023976" y="2930884"/>
            <a:ext cx="8788400" cy="8956979"/>
            <a:chOff x="16227524" y="2987979"/>
            <a:chExt cx="6584851" cy="6711161"/>
          </a:xfrm>
        </p:grpSpPr>
        <p:sp>
          <p:nvSpPr>
            <p:cNvPr id="17" name="Rounded Rectangle 52"/>
            <p:cNvSpPr/>
            <p:nvPr/>
          </p:nvSpPr>
          <p:spPr>
            <a:xfrm>
              <a:off x="16227524" y="2987979"/>
              <a:ext cx="6584851" cy="6711161"/>
            </a:xfrm>
            <a:prstGeom prst="roundRect">
              <a:avLst>
                <a:gd name="adj" fmla="val 11468"/>
              </a:avLst>
            </a:prstGeom>
            <a:solidFill>
              <a:schemeClr val="bg1"/>
            </a:solidFill>
            <a:ln w="19050">
              <a:noFill/>
            </a:ln>
            <a:effectLst>
              <a:outerShdw blurRad="906865" dist="38100" dir="2700000" sx="101000" sy="101000" algn="tl" rotWithShape="0">
                <a:schemeClr val="tx1"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3200" dirty="0">
                <a:ln w="0"/>
                <a:solidFill>
                  <a:schemeClr val="tx1"/>
                </a:solidFill>
                <a:latin typeface="Arial" panose="02080604020202020204" pitchFamily="34" charset="0"/>
              </a:endParaRPr>
            </a:p>
          </p:txBody>
        </p:sp>
        <p:pic>
          <p:nvPicPr>
            <p:cNvPr id="18" name="Picture 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 bwMode="auto">
            <a:xfrm>
              <a:off x="16591060" y="3455988"/>
              <a:ext cx="5857778" cy="577722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2"/>
          <p:cNvSpPr/>
          <p:nvPr/>
        </p:nvSpPr>
        <p:spPr>
          <a:xfrm>
            <a:off x="5310289" y="7171763"/>
            <a:ext cx="13842900" cy="4775368"/>
          </a:xfrm>
          <a:prstGeom prst="roundRect">
            <a:avLst>
              <a:gd name="adj" fmla="val 1146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  <a:latin typeface="Arial" panose="0208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888476" y="115642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ru-RU" b="0" dirty="0" err="1">
                <a:latin typeface="YS Text Medium" charset="0"/>
                <a:cs typeface="YS Text Medium" charset="0"/>
              </a:rPr>
              <a:t>Профайлинг</a:t>
            </a:r>
            <a:r>
              <a:rPr lang="en-US" b="0" dirty="0">
                <a:latin typeface="YS Text Medium" charset="0"/>
                <a:cs typeface="YS Text Medium" charset="0"/>
              </a:rPr>
              <a:t> </a:t>
            </a:r>
            <a:r>
              <a:rPr lang="en-US" b="0" dirty="0" err="1">
                <a:latin typeface="YS Text Medium" charset="0"/>
                <a:cs typeface="YS Text Medium" charset="0"/>
              </a:rPr>
              <a:t>CPython</a:t>
            </a:r>
            <a:endParaRPr lang="ru-RU" b="0" dirty="0">
              <a:latin typeface="YS Text Medium" charset="0"/>
              <a:cs typeface="YS Text Medium" charset="0"/>
            </a:endParaRPr>
          </a:p>
        </p:txBody>
      </p:sp>
      <p:sp>
        <p:nvSpPr>
          <p:cNvPr id="10" name="Content Placeholder 2"/>
          <p:cNvSpPr txBox="1"/>
          <p:nvPr/>
        </p:nvSpPr>
        <p:spPr bwMode="auto">
          <a:xfrm>
            <a:off x="1488892" y="2930884"/>
            <a:ext cx="9245783" cy="3829146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</a:rPr>
              <a:t>P</a:t>
            </a:r>
            <a:r>
              <a:rPr lang="en-US" sz="4200" dirty="0">
                <a:latin typeface="YS Text Regular" charset="0"/>
                <a:cs typeface="YS Text Regular" charset="0"/>
                <a:hlinkClick r:id="rId6" action="ppaction://hlinkfile"/>
              </a:rPr>
              <a:t>EP 626 - Precise line numbers for debugging and other tools</a:t>
            </a:r>
            <a:r>
              <a:rPr lang="en-US" sz="4200" dirty="0">
                <a:latin typeface="YS Text Regular" charset="0"/>
                <a:cs typeface="YS Text Regular" charset="0"/>
              </a:rPr>
              <a:t> - 3.10</a:t>
            </a:r>
            <a:endParaRPr lang="ru-RU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7" action="ppaction://hlinkfile"/>
              </a:rPr>
              <a:t>PEP 657 - Include Fine Grained Error Locations in Tracebacks</a:t>
            </a:r>
            <a:r>
              <a:rPr lang="en-US" sz="4200" dirty="0">
                <a:latin typeface="YS Text Regular" charset="0"/>
                <a:cs typeface="YS Text Regular" charset="0"/>
              </a:rPr>
              <a:t> - 3.11 </a:t>
            </a:r>
          </a:p>
        </p:txBody>
      </p:sp>
      <p:sp>
        <p:nvSpPr>
          <p:cNvPr id="14" name="Content Placeholder 2"/>
          <p:cNvSpPr txBox="1"/>
          <p:nvPr/>
        </p:nvSpPr>
        <p:spPr bwMode="auto">
          <a:xfrm>
            <a:off x="11826876" y="2971800"/>
            <a:ext cx="11380788" cy="2327275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8" action="ppaction://hlinkfile"/>
              </a:rPr>
              <a:t>PEP 669 - Low Impact Monitoring for CPython</a:t>
            </a:r>
            <a:r>
              <a:rPr lang="en-US" sz="4200" dirty="0">
                <a:latin typeface="YS Text Regular" charset="0"/>
                <a:cs typeface="YS Text Regular" charset="0"/>
              </a:rPr>
              <a:t> - 3.12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9" action="ppaction://hlinkfile"/>
              </a:rPr>
              <a:t>specialist</a:t>
            </a:r>
            <a:endParaRPr lang="en-US" sz="4200" dirty="0">
              <a:latin typeface="YS Text Regular" charset="0"/>
              <a:cs typeface="YS Text Regular" charset="0"/>
            </a:endParaRPr>
          </a:p>
        </p:txBody>
      </p:sp>
      <p:pic>
        <p:nvPicPr>
          <p:cNvPr id="9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 bwMode="auto">
          <a:xfrm>
            <a:off x="5680177" y="7445732"/>
            <a:ext cx="13103124" cy="422743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05326" y="4203427"/>
            <a:ext cx="16558531" cy="3539430"/>
          </a:xfrm>
        </p:spPr>
        <p:txBody>
          <a:bodyPr/>
          <a:lstStyle/>
          <a:p>
            <a:r>
              <a:rPr lang="ru-RU" dirty="0">
                <a:sym typeface="+mn-ea"/>
              </a:rPr>
              <a:t>Инструменты профилировани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78707" y="4549375"/>
            <a:ext cx="1426559" cy="1015365"/>
          </a:xfrm>
        </p:spPr>
        <p:txBody>
          <a:bodyPr/>
          <a:lstStyle/>
          <a:p>
            <a:r>
              <a:rPr lang="en-US" dirty="0"/>
              <a:t>0</a:t>
            </a:r>
            <a:r>
              <a:rPr lang="ru-RU" dirty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604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4888476" y="115642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en-US" b="0" dirty="0" err="1">
                <a:latin typeface="YS Text Medium" charset="0"/>
                <a:cs typeface="YS Text Medium" charset="0"/>
              </a:rPr>
              <a:t>Стандартные</a:t>
            </a:r>
            <a:r>
              <a:rPr lang="en-US" b="0" dirty="0">
                <a:latin typeface="YS Text Medium" charset="0"/>
                <a:cs typeface="YS Text Medium" charset="0"/>
              </a:rPr>
              <a:t> </a:t>
            </a:r>
            <a:r>
              <a:rPr lang="en-US" b="0" dirty="0" err="1">
                <a:latin typeface="YS Text Medium" charset="0"/>
                <a:cs typeface="YS Text Medium" charset="0"/>
              </a:rPr>
              <a:t>средства</a:t>
            </a:r>
            <a:endParaRPr lang="ru-RU" b="0" dirty="0">
              <a:latin typeface="YS Text Medium" charset="0"/>
              <a:cs typeface="YS Text Medium" charset="0"/>
            </a:endParaRPr>
          </a:p>
        </p:txBody>
      </p:sp>
      <p:sp>
        <p:nvSpPr>
          <p:cNvPr id="10" name="Content Placeholder 2"/>
          <p:cNvSpPr txBox="1"/>
          <p:nvPr/>
        </p:nvSpPr>
        <p:spPr bwMode="auto">
          <a:xfrm>
            <a:off x="148889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6" action="ppaction://hlinkfile"/>
              </a:rPr>
              <a:t>cProfile</a:t>
            </a:r>
            <a:r>
              <a:rPr lang="en-US" sz="4400" dirty="0">
                <a:latin typeface="YS Text Regular" charset="0"/>
                <a:cs typeface="YS Text Regular" charset="0"/>
                <a:sym typeface="+mn-ea"/>
              </a:rPr>
              <a:t> - </a:t>
            </a:r>
            <a:r>
              <a:rPr lang="en-US" sz="4400" dirty="0" err="1">
                <a:latin typeface="YS Text Regular" charset="0"/>
                <a:cs typeface="YS Text Regular" charset="0"/>
                <a:sym typeface="+mn-ea"/>
              </a:rPr>
              <a:t>медленно</a:t>
            </a:r>
            <a:endParaRPr lang="en-US" sz="4400" dirty="0">
              <a:latin typeface="YS Text Regular" charset="0"/>
              <a:cs typeface="YS Text Regular" charset="0"/>
            </a:endParaRPr>
          </a:p>
          <a:p>
            <a:pPr>
              <a:defRPr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7" action="ppaction://hlinkfile"/>
              </a:rPr>
              <a:t>tracemalloc</a:t>
            </a:r>
            <a:r>
              <a:rPr lang="en-US" sz="4400" dirty="0">
                <a:latin typeface="YS Text Regular" charset="0"/>
                <a:cs typeface="YS Text Regular" charset="0"/>
                <a:sym typeface="+mn-ea"/>
              </a:rPr>
              <a:t> - </a:t>
            </a:r>
            <a:r>
              <a:rPr lang="en-US" sz="4400" dirty="0" err="1">
                <a:latin typeface="YS Text Regular" charset="0"/>
                <a:cs typeface="YS Text Regular" charset="0"/>
                <a:sym typeface="+mn-ea"/>
              </a:rPr>
              <a:t>сложно</a:t>
            </a:r>
            <a:endParaRPr lang="en-US" sz="4400" dirty="0">
              <a:latin typeface="YS Text Regular" charset="0"/>
              <a:cs typeface="YS Text Regular" charset="0"/>
              <a:hlinkClick r:id="rId7" action="ppaction://hlinkfile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400" dirty="0">
              <a:latin typeface="YS Text Regular" charset="0"/>
              <a:cs typeface="YS Text Regular" charset="0"/>
            </a:endParaRPr>
          </a:p>
          <a:p>
            <a:pPr>
              <a:defRPr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8" action="ppaction://hlinkfile"/>
              </a:rPr>
              <a:t>Python support for the </a:t>
            </a:r>
            <a:endParaRPr lang="en-US" sz="4400" dirty="0">
              <a:latin typeface="YS Text Regular" charset="0"/>
              <a:cs typeface="YS Text Regular" charset="0"/>
              <a:hlinkClick r:id="rId8" action="ppaction://hlinkfile"/>
            </a:endParaRPr>
          </a:p>
          <a:p>
            <a:pPr marL="0" indent="0">
              <a:buNone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8" action="ppaction://hlinkfile"/>
              </a:rPr>
              <a:t>Linux perf profiler</a:t>
            </a:r>
            <a:r>
              <a:rPr lang="en-US" sz="4400" dirty="0">
                <a:latin typeface="YS Text Regular" charset="0"/>
                <a:cs typeface="YS Text Regular" charset="0"/>
                <a:sym typeface="+mn-ea"/>
              </a:rPr>
              <a:t> - 3.12</a:t>
            </a:r>
            <a:endParaRPr lang="en-US" sz="4400" dirty="0">
              <a:latin typeface="YS Text Regular" charset="0"/>
              <a:cs typeface="YS Text Regular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4733" y="3033343"/>
            <a:ext cx="14811375" cy="850519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hlinkClick r:id="rId6"/>
              </a:rPr>
              <a:t>https://habr.com/ru/companies/vk/articles/202832/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4888476" y="115642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ru-RU" dirty="0">
                <a:latin typeface="YS Text Medium" charset="0"/>
                <a:cs typeface="YS Text Medium" charset="0"/>
              </a:rPr>
              <a:t>Как было</a:t>
            </a:r>
            <a:r>
              <a:rPr lang="en-US" dirty="0">
                <a:latin typeface="YS Text Medium" charset="0"/>
                <a:cs typeface="YS Text Medium" charset="0"/>
              </a:rPr>
              <a:t> - 2013</a:t>
            </a:r>
            <a:endParaRPr lang="ru-RU" b="0" dirty="0">
              <a:latin typeface="YS Text Medium" charset="0"/>
              <a:cs typeface="YS Text Medium" charset="0"/>
            </a:endParaRPr>
          </a:p>
        </p:txBody>
      </p:sp>
      <p:sp>
        <p:nvSpPr>
          <p:cNvPr id="10" name="Content Placeholder 2"/>
          <p:cNvSpPr txBox="1"/>
          <p:nvPr/>
        </p:nvSpPr>
        <p:spPr bwMode="auto">
          <a:xfrm>
            <a:off x="148889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sym typeface="+mn-ea"/>
                <a:hlinkClick r:id="rId7"/>
              </a:rPr>
              <a:t>Hotshot</a:t>
            </a:r>
            <a:endParaRPr lang="en-US" sz="4200" dirty="0">
              <a:latin typeface="YS Text Regular" charset="0"/>
              <a:cs typeface="YS Text Regular" charset="0"/>
              <a:sym typeface="+mn-ea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8"/>
              </a:rPr>
              <a:t>Kcachegrind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9"/>
              </a:rPr>
              <a:t>RunSnakeRun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0"/>
              </a:rPr>
              <a:t>Gprof2dot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1"/>
              </a:rPr>
              <a:t>Pycallgraph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2"/>
              </a:rPr>
              <a:t>line_profiler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3"/>
              </a:rPr>
              <a:t>memory_profiler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4"/>
              </a:rPr>
              <a:t>Guppy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 err="1">
                <a:latin typeface="YS Text Regular" charset="0"/>
                <a:cs typeface="YS Text Regular" charset="0"/>
                <a:hlinkClick r:id="rId15"/>
              </a:rPr>
              <a:t>memprof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364AF8-68F3-CD25-5135-8247C25969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1465" y="3660955"/>
            <a:ext cx="11367273" cy="6394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2004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hlinkClick r:id="rId6"/>
              </a:rPr>
              <a:t>https://habr.com/ru/companies/wunderfund/articles/656571/</a:t>
            </a:r>
            <a:endParaRPr lang="en-US" dirty="0"/>
          </a:p>
          <a:p>
            <a:r>
              <a:rPr lang="en-US" dirty="0">
                <a:hlinkClick r:id="rId7"/>
              </a:rPr>
              <a:t>https://habr.com/ru/companies/ruvds/articles/757336/</a:t>
            </a:r>
            <a:br>
              <a:rPr lang="en-US" dirty="0"/>
            </a:br>
            <a:r>
              <a:rPr lang="en-US" dirty="0">
                <a:hlinkClick r:id="rId8"/>
              </a:rPr>
              <a:t>https://realpython.com/python-profiling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4888476" y="115642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err="1">
              <a:solidFill>
                <a:sysClr val="windowText" lastClr="000000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ru-RU" dirty="0">
                <a:latin typeface="YS Text Medium" charset="0"/>
                <a:cs typeface="YS Text Medium" charset="0"/>
              </a:rPr>
              <a:t>Как стало</a:t>
            </a:r>
            <a:r>
              <a:rPr lang="en-US" dirty="0">
                <a:latin typeface="YS Text Medium" charset="0"/>
                <a:cs typeface="YS Text Medium" charset="0"/>
              </a:rPr>
              <a:t> - 20</a:t>
            </a:r>
            <a:r>
              <a:rPr lang="ru-RU" dirty="0">
                <a:latin typeface="YS Text Medium" charset="0"/>
                <a:cs typeface="YS Text Medium" charset="0"/>
              </a:rPr>
              <a:t>2</a:t>
            </a:r>
            <a:r>
              <a:rPr lang="en-US" dirty="0">
                <a:latin typeface="YS Text Medium" charset="0"/>
                <a:cs typeface="YS Text Medium" charset="0"/>
              </a:rPr>
              <a:t>3</a:t>
            </a:r>
            <a:endParaRPr lang="ru-RU" b="0" dirty="0">
              <a:latin typeface="YS Text Medium" charset="0"/>
              <a:cs typeface="YS Text Medium" charset="0"/>
            </a:endParaRPr>
          </a:p>
        </p:txBody>
      </p:sp>
      <p:sp>
        <p:nvSpPr>
          <p:cNvPr id="10" name="Content Placeholder 2"/>
          <p:cNvSpPr txBox="1"/>
          <p:nvPr/>
        </p:nvSpPr>
        <p:spPr bwMode="auto">
          <a:xfrm>
            <a:off x="148889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9"/>
              </a:rPr>
              <a:t>py-spy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0"/>
              </a:rPr>
              <a:t>line_profiler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 err="1">
                <a:latin typeface="YS Text Regular" charset="0"/>
                <a:cs typeface="YS Text Regular" charset="0"/>
                <a:hlinkClick r:id="rId11"/>
              </a:rPr>
              <a:t>memory_profiler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2"/>
              </a:rPr>
              <a:t>py-heat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3"/>
              </a:rPr>
              <a:t>SnakeViz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4"/>
              </a:rPr>
              <a:t>Gprof2dot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5"/>
              </a:rPr>
              <a:t>Yappi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latin typeface="YS Text Regular" charset="0"/>
                <a:cs typeface="YS Text Regular" charset="0"/>
                <a:hlinkClick r:id="rId16"/>
              </a:rPr>
              <a:t>Pyinstrument</a:t>
            </a: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200" dirty="0">
              <a:latin typeface="YS Text Regular" charset="0"/>
              <a:cs typeface="YS Text Regular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43DE0C-7252-C459-563B-B1B62B64DB9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8776" y="2669608"/>
            <a:ext cx="7772400" cy="837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135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Rounded Rectangle 164"/>
          <p:cNvSpPr/>
          <p:nvPr/>
        </p:nvSpPr>
        <p:spPr bwMode="auto">
          <a:xfrm>
            <a:off x="1579563" y="4006183"/>
            <a:ext cx="15376525" cy="8029872"/>
          </a:xfrm>
          <a:prstGeom prst="roundRect">
            <a:avLst>
              <a:gd name="adj" fmla="val 5038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  <a:latin typeface="Arial" panose="02080604020202020204" pitchFamily="34" charset="0"/>
            </a:endParaRPr>
          </a:p>
        </p:txBody>
      </p:sp>
      <p:sp>
        <p:nvSpPr>
          <p:cNvPr id="7" name="Rounded Rectangle 164"/>
          <p:cNvSpPr/>
          <p:nvPr/>
        </p:nvSpPr>
        <p:spPr>
          <a:xfrm>
            <a:off x="18052251" y="3960109"/>
            <a:ext cx="4768161" cy="2933111"/>
          </a:xfrm>
          <a:prstGeom prst="roundRect">
            <a:avLst>
              <a:gd name="adj" fmla="val 1324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  <a:latin typeface="Arial" panose="02080604020202020204" pitchFamily="34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 bwMode="auto">
          <a:xfrm>
            <a:off x="18522945" y="4648466"/>
            <a:ext cx="3826773" cy="1556396"/>
          </a:xfrm>
          <a:prstGeom prst="rect">
            <a:avLst/>
          </a:prstGeom>
        </p:spPr>
      </p:pic>
      <p:sp>
        <p:nvSpPr>
          <p:cNvPr id="6" name="Заголовок 6"/>
          <p:cNvSpPr txBox="1"/>
          <p:nvPr/>
        </p:nvSpPr>
        <p:spPr bwMode="auto"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198000" rIns="0" bIns="0" rtlCol="0" anchor="ctr" anchorCtr="0">
            <a:no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795" b="1" i="0" kern="1200">
                <a:solidFill>
                  <a:schemeClr val="tx1"/>
                </a:solidFill>
                <a:latin typeface="Arial" panose="02080604020202020204" pitchFamily="34" charset="0"/>
                <a:ea typeface="+mj-ea"/>
                <a:cs typeface="Arial" panose="02080604020202020204" pitchFamily="34" charset="0"/>
              </a:defRPr>
            </a:lvl1pPr>
          </a:lstStyle>
          <a:p>
            <a:r>
              <a:rPr lang="ru-RU" sz="6600" b="0" dirty="0">
                <a:latin typeface="YS Text Medium" charset="0"/>
                <a:cs typeface="YS Text Medium" charset="0"/>
              </a:rPr>
              <a:t>Всё, везде и сразу</a:t>
            </a:r>
          </a:p>
        </p:txBody>
      </p:sp>
      <p:pic>
        <p:nvPicPr>
          <p:cNvPr id="11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1808462" y="5124891"/>
            <a:ext cx="14954677" cy="5890941"/>
          </a:xfrm>
          <a:prstGeom prst="rect">
            <a:avLst/>
          </a:prstGeom>
        </p:spPr>
      </p:pic>
      <p:sp>
        <p:nvSpPr>
          <p:cNvPr id="3" name="Content Placeholder 2"/>
          <p:cNvSpPr txBox="1"/>
          <p:nvPr/>
        </p:nvSpPr>
        <p:spPr bwMode="auto">
          <a:xfrm>
            <a:off x="148889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200" dirty="0">
                <a:sym typeface="+mn-ea"/>
                <a:hlinkClick r:id="rId5" action="ppaction://hlinkfile"/>
              </a:rPr>
              <a:t>Scalene</a:t>
            </a:r>
            <a:r>
              <a:rPr lang="en-US" sz="4200" dirty="0">
                <a:sym typeface="+mn-ea"/>
              </a:rPr>
              <a:t> - 2021</a:t>
            </a:r>
            <a:endParaRPr lang="en-US" sz="42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87600" y="740445"/>
            <a:ext cx="10974288" cy="1015365"/>
          </a:xfrm>
        </p:spPr>
        <p:txBody>
          <a:bodyPr/>
          <a:lstStyle/>
          <a:p>
            <a:r>
              <a:rPr lang="en-US"/>
              <a:t>Обо мне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 sz="4400" dirty="0" err="1"/>
              <a:t>Сергей</a:t>
            </a:r>
            <a:r>
              <a:rPr lang="en-US" sz="4400" dirty="0"/>
              <a:t> </a:t>
            </a:r>
            <a:r>
              <a:rPr lang="en-US" sz="4400" dirty="0" err="1"/>
              <a:t>Яхницкий</a:t>
            </a:r>
            <a:r>
              <a:rPr lang="en-US" sz="4400" dirty="0"/>
              <a:t> @</a:t>
            </a:r>
            <a:r>
              <a:rPr lang="en-US" sz="4400" dirty="0" err="1"/>
              <a:t>serjflint</a:t>
            </a:r>
            <a:endParaRPr lang="en-US" sz="4400" dirty="0"/>
          </a:p>
          <a:p>
            <a:r>
              <a:rPr lang="en-US" sz="4400" dirty="0" err="1"/>
              <a:t>В</a:t>
            </a:r>
            <a:r>
              <a:rPr lang="en-US" sz="4400" dirty="0"/>
              <a:t> </a:t>
            </a:r>
            <a:r>
              <a:rPr lang="en-US" sz="4400" dirty="0" err="1"/>
              <a:t>Яндекс.Такси</a:t>
            </a:r>
            <a:r>
              <a:rPr lang="en-US" sz="4400" dirty="0"/>
              <a:t> </a:t>
            </a:r>
            <a:r>
              <a:rPr lang="en-US" sz="4400" dirty="0" err="1"/>
              <a:t>с</a:t>
            </a:r>
            <a:r>
              <a:rPr lang="en-US" sz="4400" dirty="0"/>
              <a:t> 2021 </a:t>
            </a:r>
            <a:r>
              <a:rPr lang="en-US" sz="4400" dirty="0" err="1"/>
              <a:t>года</a:t>
            </a:r>
            <a:endParaRPr lang="en-US" sz="4400" dirty="0"/>
          </a:p>
          <a:p>
            <a:r>
              <a:rPr lang="ru-RU" sz="4400" dirty="0"/>
              <a:t>Лид</a:t>
            </a:r>
            <a:r>
              <a:rPr lang="en-US" sz="4400" dirty="0"/>
              <a:t> </a:t>
            </a:r>
            <a:r>
              <a:rPr lang="en-US" sz="4400" dirty="0" err="1"/>
              <a:t>сообщества</a:t>
            </a:r>
            <a:r>
              <a:rPr lang="en-US" sz="4400" dirty="0"/>
              <a:t> </a:t>
            </a:r>
            <a:r>
              <a:rPr lang="en-US" sz="4400" dirty="0" err="1"/>
              <a:t>и</a:t>
            </a:r>
            <a:r>
              <a:rPr lang="ru-RU" sz="4400" dirty="0"/>
              <a:t> член</a:t>
            </a:r>
            <a:r>
              <a:rPr lang="en-US" sz="4400" dirty="0"/>
              <a:t> </a:t>
            </a:r>
            <a:r>
              <a:rPr lang="en-US" sz="4400" dirty="0" err="1"/>
              <a:t>комитета</a:t>
            </a:r>
            <a:r>
              <a:rPr lang="en-US" sz="4400" dirty="0"/>
              <a:t> Python </a:t>
            </a:r>
            <a:r>
              <a:rPr lang="en-US" sz="4400" dirty="0" err="1"/>
              <a:t>в</a:t>
            </a:r>
            <a:r>
              <a:rPr lang="en-US" sz="4400" dirty="0"/>
              <a:t> </a:t>
            </a:r>
            <a:r>
              <a:rPr lang="en-US" sz="4400" dirty="0" err="1"/>
              <a:t>Яндексе</a:t>
            </a:r>
            <a:endParaRPr lang="en-US" sz="4400" dirty="0"/>
          </a:p>
          <a:p>
            <a:r>
              <a:rPr lang="ru-RU" sz="4400" dirty="0"/>
              <a:t>Член ПК </a:t>
            </a:r>
            <a:r>
              <a:rPr lang="en-US" sz="4400" dirty="0" err="1"/>
              <a:t>PiterPy</a:t>
            </a:r>
            <a:r>
              <a:rPr lang="en-US" sz="4400" dirty="0"/>
              <a:t> </a:t>
            </a:r>
            <a:r>
              <a:rPr lang="ru-RU" sz="4400" dirty="0"/>
              <a:t>и </a:t>
            </a:r>
            <a:r>
              <a:rPr lang="en-US" sz="4400" dirty="0" err="1"/>
              <a:t>EkbPy</a:t>
            </a:r>
            <a:endParaRPr lang="en-US" sz="4400" dirty="0"/>
          </a:p>
          <a:p>
            <a:r>
              <a:rPr lang="en-US" sz="4400" dirty="0" err="1"/>
              <a:t>Собираю</a:t>
            </a:r>
            <a:r>
              <a:rPr lang="en-US" sz="4400" dirty="0"/>
              <a:t> “</a:t>
            </a:r>
            <a:r>
              <a:rPr lang="en-US" sz="4400" dirty="0" err="1">
                <a:effectLst/>
              </a:rPr>
              <a:t>микро</a:t>
            </a:r>
            <a:r>
              <a:rPr lang="en-US" sz="4400" dirty="0">
                <a:effectLst/>
              </a:rPr>
              <a:t>”-</a:t>
            </a:r>
            <a:r>
              <a:rPr lang="en-US" sz="4400" dirty="0" err="1"/>
              <a:t>сервисы</a:t>
            </a:r>
            <a:r>
              <a:rPr lang="en-US" sz="4400" dirty="0"/>
              <a:t> </a:t>
            </a:r>
            <a:r>
              <a:rPr lang="en-US" sz="4400" dirty="0" err="1"/>
              <a:t>и</a:t>
            </a:r>
            <a:r>
              <a:rPr lang="en-US" sz="4400" dirty="0"/>
              <a:t> </a:t>
            </a:r>
            <a:r>
              <a:rPr lang="en-US" sz="4400" dirty="0" err="1"/>
              <a:t>перекладываю</a:t>
            </a:r>
            <a:r>
              <a:rPr lang="en-US" sz="4400" dirty="0"/>
              <a:t> </a:t>
            </a:r>
            <a:r>
              <a:rPr lang="en-US" sz="4400" dirty="0" err="1"/>
              <a:t>JSON’ы</a:t>
            </a:r>
            <a:endParaRPr lang="en-US" sz="4400" dirty="0"/>
          </a:p>
          <a:p>
            <a:endParaRPr lang="en-US" sz="440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1459E63-9325-A6B5-4FCD-E7C1228A6144}"/>
              </a:ext>
            </a:extLst>
          </p:cNvPr>
          <p:cNvPicPr>
            <a:picLocks noGrp="1" noChangeAspect="1"/>
          </p:cNvPicPr>
          <p:nvPr>
            <p:ph type="pic" sz="quarter" idx="3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5" t="3865" r="17154" b="44151"/>
          <a:stretch/>
        </p:blipFill>
        <p:spPr>
          <a:xfrm>
            <a:off x="15083612" y="1220788"/>
            <a:ext cx="8820571" cy="10927668"/>
          </a:xfr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" name="Picture 1" descr="console_viewer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6852" y="2346960"/>
            <a:ext cx="11973560" cy="9022080"/>
          </a:xfrm>
          <a:prstGeom prst="rect">
            <a:avLst/>
          </a:prstGeom>
        </p:spPr>
      </p:pic>
      <p:sp>
        <p:nvSpPr>
          <p:cNvPr id="6" name="Заголовок 6"/>
          <p:cNvSpPr txBox="1"/>
          <p:nvPr/>
        </p:nvSpPr>
        <p:spPr bwMode="auto">
          <a:xfrm>
            <a:off x="1587600" y="716314"/>
            <a:ext cx="21232812" cy="1015663"/>
          </a:xfrm>
          <a:prstGeom prst="rect">
            <a:avLst/>
          </a:prstGeom>
        </p:spPr>
        <p:txBody>
          <a:bodyPr vert="horz" lIns="0" tIns="198000" rIns="0" bIns="0" rtlCol="0" anchor="ctr" anchorCtr="0">
            <a:no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795" b="1" i="0" kern="1200">
                <a:solidFill>
                  <a:schemeClr val="tx1"/>
                </a:solidFill>
                <a:latin typeface="Arial" panose="02080604020202020204" pitchFamily="34" charset="0"/>
                <a:ea typeface="+mj-ea"/>
                <a:cs typeface="Arial" panose="02080604020202020204" pitchFamily="34" charset="0"/>
              </a:defRPr>
            </a:lvl1pPr>
          </a:lstStyle>
          <a:p>
            <a:r>
              <a:rPr lang="en-US" sz="6600" b="0" dirty="0" err="1">
                <a:latin typeface="YS Text Medium" charset="0"/>
                <a:cs typeface="YS Text Medium" charset="0"/>
              </a:rPr>
              <a:t>py</a:t>
            </a:r>
            <a:r>
              <a:rPr lang="en-US" sz="6600" b="0" dirty="0">
                <a:latin typeface="YS Text Medium" charset="0"/>
                <a:cs typeface="YS Text Medium" charset="0"/>
              </a:rPr>
              <a:t>-spy</a:t>
            </a:r>
            <a:endParaRPr lang="ru-RU" sz="6600" b="0" dirty="0">
              <a:latin typeface="YS Text Medium" charset="0"/>
              <a:cs typeface="YS Text Medium" charset="0"/>
            </a:endParaRPr>
          </a:p>
        </p:txBody>
      </p:sp>
      <p:sp>
        <p:nvSpPr>
          <p:cNvPr id="18" name="Content Placeholder 2"/>
          <p:cNvSpPr txBox="1"/>
          <p:nvPr/>
        </p:nvSpPr>
        <p:spPr bwMode="auto">
          <a:xfrm>
            <a:off x="148889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80604020202020204" pitchFamily="34" charset="0"/>
              <a:defRPr/>
            </a:pP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Проблема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: </a:t>
            </a: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тормозит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 </a:t>
            </a: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код</a:t>
            </a:r>
            <a:endParaRPr lang="en-US" sz="4400" dirty="0">
              <a:latin typeface="YS Text Light" charset="0"/>
              <a:cs typeface="YS Text Light" charset="0"/>
              <a:sym typeface="+mn-ea"/>
            </a:endParaRPr>
          </a:p>
          <a:p>
            <a:pPr>
              <a:buFont typeface="Arial" panose="02080604020202020204" pitchFamily="34" charset="0"/>
              <a:defRPr/>
            </a:pP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Решение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: 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  <a:hlinkClick r:id="rId4" action="ppaction://hlinkfile"/>
              </a:rPr>
              <a:t>py-spy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 - 2019</a:t>
            </a:r>
          </a:p>
          <a:p>
            <a:pPr>
              <a:buFont typeface="Arial" panose="02080604020202020204" pitchFamily="34" charset="0"/>
              <a:defRPr/>
            </a:pPr>
            <a:endParaRPr lang="ru-RU" sz="4400" dirty="0">
              <a:latin typeface="YS Text Light" charset="0"/>
              <a:cs typeface="YS Text Light" charset="0"/>
            </a:endParaRPr>
          </a:p>
          <a:p>
            <a:pPr>
              <a:buFont typeface="Arial" panose="02080604020202020204" pitchFamily="34" charset="0"/>
              <a:defRPr/>
            </a:pPr>
            <a:r>
              <a:rPr lang="en-US" sz="4400" dirty="0" err="1">
                <a:latin typeface="YS Text Light" charset="0"/>
                <a:cs typeface="YS Text Light" charset="0"/>
              </a:rPr>
              <a:t>Плюсы</a:t>
            </a:r>
            <a:r>
              <a:rPr lang="en-US" sz="4400" dirty="0">
                <a:latin typeface="YS Text Light" charset="0"/>
                <a:cs typeface="YS Text Light" charset="0"/>
              </a:rPr>
              <a:t>:</a:t>
            </a:r>
            <a:endParaRPr lang="en-US" sz="4400" dirty="0">
              <a:latin typeface="YS Text Light" charset="0"/>
              <a:cs typeface="YS Text Light" charset="0"/>
              <a:hlinkClick r:id="rId5" action="ppaction://hlinkfile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Сэмплирующий</a:t>
            </a:r>
            <a:br>
              <a:rPr lang="en-US" sz="4400" dirty="0">
                <a:latin typeface="YS Text Light" charset="0"/>
                <a:cs typeface="YS Text Light" charset="0"/>
              </a:rPr>
            </a:br>
            <a:r>
              <a:rPr lang="en-US" sz="4400" dirty="0">
                <a:latin typeface="YS Text Light" charset="0"/>
                <a:cs typeface="YS Text Light" charset="0"/>
              </a:rPr>
              <a:t>профилировщик - не тормозит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Режим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 top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400" dirty="0">
              <a:latin typeface="YS Text Light" charset="0"/>
              <a:cs typeface="YS Text Light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Picture 8" descr="40900669-86eced80-6781-11e8-92c1-dc667b651e7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3887" y="2580005"/>
            <a:ext cx="14106525" cy="9911080"/>
          </a:xfrm>
          <a:prstGeom prst="rect">
            <a:avLst/>
          </a:prstGeom>
        </p:spPr>
      </p:pic>
      <p:sp>
        <p:nvSpPr>
          <p:cNvPr id="6" name="Заголовок 6"/>
          <p:cNvSpPr txBox="1"/>
          <p:nvPr/>
        </p:nvSpPr>
        <p:spPr bwMode="auto">
          <a:xfrm>
            <a:off x="1587600" y="716314"/>
            <a:ext cx="21232812" cy="1015663"/>
          </a:xfrm>
          <a:prstGeom prst="rect">
            <a:avLst/>
          </a:prstGeom>
        </p:spPr>
        <p:txBody>
          <a:bodyPr vert="horz" lIns="0" tIns="198000" rIns="0" bIns="0" rtlCol="0" anchor="ctr" anchorCtr="0">
            <a:no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795" b="1" i="0" kern="1200">
                <a:solidFill>
                  <a:schemeClr val="tx1"/>
                </a:solidFill>
                <a:latin typeface="Arial" panose="02080604020202020204" pitchFamily="34" charset="0"/>
                <a:ea typeface="+mj-ea"/>
                <a:cs typeface="Arial" panose="02080604020202020204" pitchFamily="34" charset="0"/>
              </a:defRPr>
            </a:lvl1pPr>
          </a:lstStyle>
          <a:p>
            <a:r>
              <a:rPr lang="en-US" sz="6600" b="0" dirty="0" err="1">
                <a:latin typeface="YS Text Medium" charset="0"/>
                <a:cs typeface="YS Text Medium" charset="0"/>
              </a:rPr>
              <a:t>py</a:t>
            </a:r>
            <a:r>
              <a:rPr lang="en-US" sz="6600" b="0" dirty="0">
                <a:latin typeface="YS Text Medium" charset="0"/>
                <a:cs typeface="YS Text Medium" charset="0"/>
              </a:rPr>
              <a:t>-spy</a:t>
            </a:r>
            <a:endParaRPr lang="ru-RU" sz="6600" b="0" dirty="0">
              <a:latin typeface="YS Text Medium" charset="0"/>
              <a:cs typeface="YS Text Medium" charset="0"/>
            </a:endParaRPr>
          </a:p>
        </p:txBody>
      </p:sp>
      <p:sp>
        <p:nvSpPr>
          <p:cNvPr id="18" name="Content Placeholder 2"/>
          <p:cNvSpPr txBox="1"/>
          <p:nvPr/>
        </p:nvSpPr>
        <p:spPr bwMode="auto">
          <a:xfrm>
            <a:off x="1474922" y="2930883"/>
            <a:ext cx="13271683" cy="6394091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80604020202020204" pitchFamily="34" charset="0"/>
              <a:defRPr/>
            </a:pP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Ещё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 </a:t>
            </a: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плюсы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: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 err="1">
                <a:latin typeface="YS Text Light" charset="0"/>
                <a:cs typeface="YS Text Light" charset="0"/>
                <a:sym typeface="+mn-ea"/>
              </a:rPr>
              <a:t>Режим</a:t>
            </a:r>
            <a:r>
              <a:rPr lang="en-US" sz="4400" dirty="0">
                <a:latin typeface="YS Text Light" charset="0"/>
                <a:cs typeface="YS Text Light" charset="0"/>
                <a:sym typeface="+mn-ea"/>
              </a:rPr>
              <a:t> record</a:t>
            </a:r>
          </a:p>
          <a:p>
            <a:pPr marL="571500" lvl="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Flame Graph</a:t>
            </a:r>
          </a:p>
          <a:p>
            <a:pPr marL="571500" lvl="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speedscope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endParaRPr lang="en-US" sz="4400" dirty="0">
              <a:latin typeface="YS Text Light" charset="0"/>
              <a:cs typeface="YS Text Light" charset="0"/>
            </a:endParaRPr>
          </a:p>
          <a:p>
            <a:pPr>
              <a:buFont typeface="Arial" panose="02080604020202020204" pitchFamily="34" charset="0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Минусы: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Есть сложности </a:t>
            </a:r>
            <a:r>
              <a:rPr lang="en-US" sz="4400" dirty="0" err="1">
                <a:latin typeface="YS Text Light" charset="0"/>
                <a:cs typeface="YS Text Light" charset="0"/>
              </a:rPr>
              <a:t>с</a:t>
            </a:r>
            <a:r>
              <a:rPr lang="en-US" sz="4400" dirty="0">
                <a:latin typeface="YS Text Light" charset="0"/>
                <a:cs typeface="YS Text Light" charset="0"/>
              </a:rPr>
              <a:t> 3.12</a:t>
            </a: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Light" charset="0"/>
                <a:cs typeface="YS Text Light" charset="0"/>
              </a:rPr>
              <a:t>..?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ounded Rectangle 164"/>
          <p:cNvSpPr/>
          <p:nvPr/>
        </p:nvSpPr>
        <p:spPr>
          <a:xfrm>
            <a:off x="14392275" y="9285179"/>
            <a:ext cx="8412956" cy="3690376"/>
          </a:xfrm>
          <a:prstGeom prst="roundRect">
            <a:avLst>
              <a:gd name="adj" fmla="val 1324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  <a:latin typeface="Arial" panose="02080604020202020204" pitchFamily="34" charset="0"/>
            </a:endParaRPr>
          </a:p>
        </p:txBody>
      </p:sp>
      <p:sp>
        <p:nvSpPr>
          <p:cNvPr id="11" name="Rounded Rectangle 164"/>
          <p:cNvSpPr/>
          <p:nvPr/>
        </p:nvSpPr>
        <p:spPr>
          <a:xfrm>
            <a:off x="14392275" y="4688672"/>
            <a:ext cx="8412956" cy="3690376"/>
          </a:xfrm>
          <a:prstGeom prst="roundRect">
            <a:avLst>
              <a:gd name="adj" fmla="val 13247"/>
            </a:avLst>
          </a:prstGeom>
          <a:solidFill>
            <a:schemeClr val="bg1"/>
          </a:solidFill>
          <a:ln w="19050">
            <a:noFill/>
          </a:ln>
          <a:effectLst>
            <a:outerShdw blurRad="906865" dist="38100" dir="2700000" sx="101000" sy="101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en-US" sz="3200" dirty="0">
              <a:ln w="0"/>
              <a:solidFill>
                <a:schemeClr val="tx1"/>
              </a:solidFill>
              <a:latin typeface="Arial" panose="02080604020202020204" pitchFamily="34" charset="0"/>
            </a:endParaRPr>
          </a:p>
        </p:txBody>
      </p:sp>
      <p:sp>
        <p:nvSpPr>
          <p:cNvPr id="6" name="Заголовок 6"/>
          <p:cNvSpPr txBox="1"/>
          <p:nvPr/>
        </p:nvSpPr>
        <p:spPr bwMode="auto">
          <a:xfrm>
            <a:off x="1587600" y="740444"/>
            <a:ext cx="21232812" cy="1015663"/>
          </a:xfrm>
          <a:prstGeom prst="rect">
            <a:avLst/>
          </a:prstGeom>
        </p:spPr>
        <p:txBody>
          <a:bodyPr vert="horz" lIns="0" tIns="198000" rIns="0" bIns="0" rtlCol="0" anchor="ctr" anchorCtr="0">
            <a:no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795" b="1" i="0" kern="1200">
                <a:solidFill>
                  <a:schemeClr val="tx1"/>
                </a:solidFill>
                <a:latin typeface="Arial" panose="02080604020202020204" pitchFamily="34" charset="0"/>
                <a:ea typeface="+mj-ea"/>
                <a:cs typeface="Arial" panose="02080604020202020204" pitchFamily="34" charset="0"/>
              </a:defRPr>
            </a:lvl1pPr>
          </a:lstStyle>
          <a:p>
            <a:r>
              <a:rPr lang="en-US" sz="6600" b="0" dirty="0" err="1">
                <a:latin typeface="YS Text Medium" charset="0"/>
                <a:cs typeface="YS Text Medium" charset="0"/>
              </a:rPr>
              <a:t>Профилируем</a:t>
            </a:r>
            <a:r>
              <a:rPr lang="en-US" sz="6600" b="0" dirty="0">
                <a:latin typeface="YS Text Medium" charset="0"/>
                <a:cs typeface="YS Text Medium" charset="0"/>
              </a:rPr>
              <a:t> </a:t>
            </a:r>
            <a:r>
              <a:rPr lang="en-US" sz="6600" b="0" dirty="0" err="1">
                <a:latin typeface="YS Text Medium" charset="0"/>
                <a:cs typeface="YS Text Medium" charset="0"/>
              </a:rPr>
              <a:t>память</a:t>
            </a:r>
            <a:endParaRPr lang="ru-RU" sz="6600" b="0" dirty="0">
              <a:latin typeface="YS Text Medium" charset="0"/>
              <a:cs typeface="YS Text Medium" charset="0"/>
            </a:endParaRPr>
          </a:p>
        </p:txBody>
      </p:sp>
      <p:sp>
        <p:nvSpPr>
          <p:cNvPr id="18" name="Content Placeholder 2"/>
          <p:cNvSpPr txBox="1"/>
          <p:nvPr/>
        </p:nvSpPr>
        <p:spPr bwMode="auto">
          <a:xfrm>
            <a:off x="1488892" y="2930884"/>
            <a:ext cx="13271683" cy="1633180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1pPr>
            <a:lvl2pPr marL="0" marR="0" indent="0" algn="l" defTabSz="1908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 Unicode MS" panose="020B0604020202020204" pitchFamily="34" charset="-128"/>
              <a:buNone/>
              <a:defRPr sz="3200" b="1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2pPr>
            <a:lvl3pPr marL="461010" marR="0" indent="-45720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80604020202020204" pitchFamily="34" charset="0"/>
              <a:buChar char="•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3pPr>
            <a:lvl4pPr marL="1080135" indent="-45720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System Font Regular"/>
              <a:buChar char="−"/>
              <a:defRPr sz="3200" b="0" i="0" kern="120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4pPr>
            <a:lvl5pPr marL="0" indent="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3200" b="0" i="0" kern="1200" baseline="0">
                <a:solidFill>
                  <a:schemeClr val="tx1"/>
                </a:solidFill>
                <a:latin typeface="Arial" panose="02080604020202020204" pitchFamily="34" charset="0"/>
                <a:ea typeface="+mn-ea"/>
                <a:cs typeface="Arial" panose="02080604020202020204" pitchFamily="34" charset="0"/>
              </a:defRPr>
            </a:lvl5pPr>
            <a:lvl6pPr marL="50285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9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765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8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3" action="ppaction://hlinkfile"/>
              </a:rPr>
              <a:t>memray</a:t>
            </a:r>
            <a:r>
              <a:rPr lang="en-US" sz="4400" dirty="0">
                <a:latin typeface="YS Text Regular" charset="0"/>
                <a:cs typeface="YS Text Regular" charset="0"/>
                <a:sym typeface="+mn-ea"/>
              </a:rPr>
              <a:t> - 2022</a:t>
            </a:r>
            <a:endParaRPr lang="en-US" sz="4400" dirty="0">
              <a:latin typeface="YS Text Regular" charset="0"/>
              <a:cs typeface="YS Text Regular" charset="0"/>
              <a:hlinkClick r:id="rId3" action="ppaction://hlinkfile"/>
            </a:endParaRPr>
          </a:p>
          <a:p>
            <a:pPr marL="571500" indent="-571500">
              <a:buFont typeface="Arial" panose="02080604020202020204" pitchFamily="34" charset="0"/>
              <a:buChar char="•"/>
              <a:defRPr/>
            </a:pPr>
            <a:r>
              <a:rPr lang="en-US" sz="4400" dirty="0">
                <a:latin typeface="YS Text Regular" charset="0"/>
                <a:cs typeface="YS Text Regular" charset="0"/>
                <a:sym typeface="+mn-ea"/>
                <a:hlinkClick r:id="rId4" action="ppaction://hlinkfile"/>
              </a:rPr>
              <a:t>pystack</a:t>
            </a:r>
            <a:r>
              <a:rPr lang="en-US" sz="4400" dirty="0">
                <a:latin typeface="YS Text Regular" charset="0"/>
                <a:cs typeface="YS Text Regular" charset="0"/>
                <a:sym typeface="+mn-ea"/>
              </a:rPr>
              <a:t> - 2023</a:t>
            </a:r>
            <a:endParaRPr lang="en-US" sz="4400" dirty="0">
              <a:latin typeface="YS Text Regular" charset="0"/>
              <a:cs typeface="YS Text Regular" charset="0"/>
            </a:endParaRPr>
          </a:p>
        </p:txBody>
      </p:sp>
      <p:pic>
        <p:nvPicPr>
          <p:cNvPr id="7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15484475" y="5489562"/>
            <a:ext cx="6228556" cy="2088596"/>
          </a:xfrm>
          <a:prstGeom prst="rect">
            <a:avLst/>
          </a:prstGeom>
        </p:spPr>
      </p:pic>
      <p:pic>
        <p:nvPicPr>
          <p:cNvPr id="8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15478920" y="10133256"/>
            <a:ext cx="6239668" cy="1994222"/>
          </a:xfrm>
          <a:prstGeom prst="rect">
            <a:avLst/>
          </a:prstGeom>
        </p:spPr>
      </p:pic>
      <p:pic>
        <p:nvPicPr>
          <p:cNvPr id="4" name="Picture 3" descr="live_animated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4355" y="4756785"/>
            <a:ext cx="11331575" cy="8209915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05326" y="4203427"/>
            <a:ext cx="16558531" cy="1769715"/>
          </a:xfrm>
        </p:spPr>
        <p:txBody>
          <a:bodyPr/>
          <a:lstStyle/>
          <a:p>
            <a:r>
              <a:rPr lang="ru-RU" dirty="0">
                <a:sym typeface="+mn-ea"/>
              </a:rPr>
              <a:t>Воркшоп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78707" y="4549375"/>
            <a:ext cx="1426559" cy="1015365"/>
          </a:xfrm>
        </p:spPr>
        <p:txBody>
          <a:bodyPr/>
          <a:lstStyle/>
          <a:p>
            <a:r>
              <a:rPr lang="en-US" dirty="0"/>
              <a:t>0</a:t>
            </a:r>
            <a:r>
              <a:rPr lang="ru-RU" dirty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9111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B1070D-83D1-9E3B-5C65-2ABD37708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34536B-277E-13AF-2E90-48C943EACA4D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6082" name="Picture 2" descr="Picture background">
            <a:extLst>
              <a:ext uri="{FF2B5EF4-FFF2-40B4-BE49-F238E27FC236}">
                <a16:creationId xmlns:a16="http://schemas.microsoft.com/office/drawing/2014/main" id="{1801C152-FAE5-6DC4-28BA-740E4C1EAB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63" y="2305050"/>
            <a:ext cx="16243300" cy="910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72628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CCDE44-F364-3CAF-299C-50E3D1DD095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400" dirty="0">
                <a:hlinkClick r:id="rId2"/>
              </a:rPr>
              <a:t>https://billing.yandex.cloud/accounts</a:t>
            </a:r>
            <a:endParaRPr lang="ru-RU" sz="4400" dirty="0"/>
          </a:p>
          <a:p>
            <a:endParaRPr lang="ru-RU" sz="4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36F3CA-8B3F-1601-5FF1-222101828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здаём платёжный аккаунт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DEC3D8-CDB1-A74D-0C3B-9B60B26E7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2226" name="Picture 2" descr="Picture background">
            <a:extLst>
              <a:ext uri="{FF2B5EF4-FFF2-40B4-BE49-F238E27FC236}">
                <a16:creationId xmlns:a16="http://schemas.microsoft.com/office/drawing/2014/main" id="{0E56B3BB-D3CC-9144-A7D9-459223C7C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8341" y="5075100"/>
            <a:ext cx="11864340" cy="667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200ECB-1D6C-8778-E991-531491B738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4009" y="6464072"/>
            <a:ext cx="7061998" cy="389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452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9BE52-D945-2F86-AAB3-F2E21283C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740410"/>
            <a:ext cx="20756880" cy="1015663"/>
          </a:xfrm>
        </p:spPr>
        <p:txBody>
          <a:bodyPr/>
          <a:lstStyle/>
          <a:p>
            <a:r>
              <a:rPr lang="ru-RU" i="0" dirty="0">
                <a:solidFill>
                  <a:srgbClr val="000000"/>
                </a:solidFill>
                <a:effectLst/>
                <a:highlight>
                  <a:srgbClr val="FFFFFF"/>
                </a:highlight>
              </a:rPr>
              <a:t>Создаём виртуальную машину</a:t>
            </a:r>
            <a:endParaRPr lang="ru-R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FFB19A-7F13-581B-A781-E53E7FA90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E14B4-04B4-B053-6B6E-52E97A41EAA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4400" u="sng" dirty="0">
                <a:solidFill>
                  <a:srgbClr val="296EAA"/>
                </a:solidFill>
                <a:effectLst/>
                <a:highlight>
                  <a:srgbClr val="FFFFFF"/>
                </a:highlight>
                <a:hlinkClick r:id="rId2"/>
              </a:rPr>
              <a:t>https://console.cloud.yandex.ru/</a:t>
            </a:r>
            <a:endParaRPr lang="en-US" sz="4400" dirty="0">
              <a:solidFill>
                <a:srgbClr val="000000"/>
              </a:solidFill>
              <a:effectLst/>
              <a:highlight>
                <a:srgbClr val="FFFFFF"/>
              </a:highlight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4400" u="sng" dirty="0">
                <a:solidFill>
                  <a:srgbClr val="296EAA"/>
                </a:solidFill>
                <a:effectLst/>
                <a:highlight>
                  <a:srgbClr val="FFFFFF"/>
                </a:highlight>
                <a:hlinkClick r:id="rId3"/>
              </a:rPr>
              <a:t>https://yandex.cloud/ru/docs/</a:t>
            </a:r>
            <a:br>
              <a:rPr lang="ru-RU" sz="4400" u="sng" dirty="0">
                <a:solidFill>
                  <a:srgbClr val="296EAA"/>
                </a:solidFill>
                <a:effectLst/>
                <a:highlight>
                  <a:srgbClr val="FFFFFF"/>
                </a:highlight>
                <a:hlinkClick r:id="rId3"/>
              </a:rPr>
            </a:br>
            <a:r>
              <a:rPr lang="en-US" sz="4400" u="sng" dirty="0">
                <a:solidFill>
                  <a:srgbClr val="296EAA"/>
                </a:solidFill>
                <a:effectLst/>
                <a:highlight>
                  <a:srgbClr val="FFFFFF"/>
                </a:highlight>
                <a:hlinkClick r:id="rId3"/>
              </a:rPr>
              <a:t>tutorials/web/flask</a:t>
            </a:r>
            <a:endParaRPr lang="en-US" sz="4400" dirty="0">
              <a:solidFill>
                <a:srgbClr val="000000"/>
              </a:solidFill>
              <a:effectLst/>
              <a:highlight>
                <a:srgbClr val="FFFFFF"/>
              </a:highlight>
            </a:endParaRPr>
          </a:p>
          <a:p>
            <a:endParaRPr lang="ru-RU" sz="4400" dirty="0"/>
          </a:p>
        </p:txBody>
      </p:sp>
      <p:pic>
        <p:nvPicPr>
          <p:cNvPr id="53250" name="Picture 2" descr="Picture background">
            <a:extLst>
              <a:ext uri="{FF2B5EF4-FFF2-40B4-BE49-F238E27FC236}">
                <a16:creationId xmlns:a16="http://schemas.microsoft.com/office/drawing/2014/main" id="{AE41E6FB-8723-8741-6E87-E7A26F6C17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1706" y="2424093"/>
            <a:ext cx="9332674" cy="943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64649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68C03-65E7-DB00-0FA7-625957241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ключаемся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447EBC-248C-DE6C-5EF6-768597F332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A20EF2-BE83-B25B-892C-B4F8E974283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4CFA31-F20D-5D1F-D4F5-9CECD17C0D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0" y="4802505"/>
            <a:ext cx="8204634" cy="4110990"/>
          </a:xfrm>
          <a:prstGeom prst="rect">
            <a:avLst/>
          </a:prstGeom>
        </p:spPr>
      </p:pic>
      <p:pic>
        <p:nvPicPr>
          <p:cNvPr id="54276" name="Picture 4" descr="Buy Ready Player One + Bonus - Microsoft Store">
            <a:extLst>
              <a:ext uri="{FF2B5EF4-FFF2-40B4-BE49-F238E27FC236}">
                <a16:creationId xmlns:a16="http://schemas.microsoft.com/office/drawing/2014/main" id="{2189A87E-F16D-B4DA-4628-4957BAD3D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4219" y="500380"/>
            <a:ext cx="8990161" cy="12321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83962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B57AC-5216-0F5B-D019-0CADD4D45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740410"/>
            <a:ext cx="20756880" cy="1015663"/>
          </a:xfrm>
        </p:spPr>
        <p:txBody>
          <a:bodyPr/>
          <a:lstStyle/>
          <a:p>
            <a:r>
              <a:rPr lang="ru-RU" dirty="0"/>
              <a:t>Нанимаем "ржавого" продакт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DB95BC-E14E-BAE2-FABC-E95A33703E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9507CC-CAEA-C1D4-6D34-4B3C1B24BC7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73EA47-B4A6-0226-BEC6-A1E5BC7492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88"/>
          <a:stretch/>
        </p:blipFill>
        <p:spPr>
          <a:xfrm>
            <a:off x="1427480" y="6337385"/>
            <a:ext cx="13185243" cy="53106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21253FC-BA2A-2907-E589-FA5FB05E15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7398" y="2376420"/>
            <a:ext cx="9179560" cy="22880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E7694B-BD60-5E63-73CF-138E0F63FB6A}"/>
              </a:ext>
            </a:extLst>
          </p:cNvPr>
          <p:cNvSpPr txBox="1"/>
          <p:nvPr/>
        </p:nvSpPr>
        <p:spPr>
          <a:xfrm>
            <a:off x="2037398" y="5303520"/>
            <a:ext cx="12012854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39750" indent="-539750" algn="l">
              <a:spcAft>
                <a:spcPts val="1800"/>
              </a:spcAft>
            </a:pPr>
            <a:r>
              <a:rPr lang="en-US" sz="4400" dirty="0">
                <a:hlinkClick r:id="rId4"/>
              </a:rPr>
              <a:t>https://github.com/astral-sh/rye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0331772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C1CA5-A12A-4D44-BBC7-B50A2C389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740410"/>
            <a:ext cx="20756880" cy="1015663"/>
          </a:xfrm>
        </p:spPr>
        <p:txBody>
          <a:bodyPr/>
          <a:lstStyle/>
          <a:p>
            <a:r>
              <a:rPr lang="ru-RU" dirty="0"/>
              <a:t>Заводим </a:t>
            </a:r>
            <a:r>
              <a:rPr lang="en-US" dirty="0"/>
              <a:t>DTO-</a:t>
            </a:r>
            <a:r>
              <a:rPr lang="ru-RU" dirty="0" err="1"/>
              <a:t>шный</a:t>
            </a:r>
            <a:r>
              <a:rPr lang="ru-RU" dirty="0"/>
              <a:t> фреймворк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8F1E0C-E702-CB64-5B6F-DEA1183F32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02C7C-B320-0D37-51F2-401FB82B8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 sz="4400" dirty="0">
                <a:hlinkClick r:id="rId2"/>
              </a:rPr>
              <a:t>https://github.com/litestar-org/litestar</a:t>
            </a:r>
            <a:endParaRPr lang="en-US" sz="4400" dirty="0"/>
          </a:p>
          <a:p>
            <a:endParaRPr lang="en-US" sz="4400" dirty="0"/>
          </a:p>
          <a:p>
            <a:endParaRPr lang="en-US" sz="4400" dirty="0"/>
          </a:p>
          <a:p>
            <a:endParaRPr lang="en-US" sz="4400" dirty="0"/>
          </a:p>
          <a:p>
            <a:endParaRPr lang="en-US" sz="4400" dirty="0"/>
          </a:p>
          <a:p>
            <a:endParaRPr lang="en-US" sz="4400" dirty="0"/>
          </a:p>
          <a:p>
            <a:r>
              <a:rPr lang="en-US" sz="4400" dirty="0">
                <a:hlinkClick r:id="rId3"/>
              </a:rPr>
              <a:t>http://1.1.1.1:5000</a:t>
            </a:r>
            <a:endParaRPr lang="en-US" sz="4400" dirty="0"/>
          </a:p>
          <a:p>
            <a:endParaRPr lang="en-US" sz="4400" dirty="0"/>
          </a:p>
          <a:p>
            <a:r>
              <a:rPr lang="en-US" sz="4400" dirty="0">
                <a:hlinkClick r:id="rId4"/>
              </a:rPr>
              <a:t>http://1.1.1.1:5000/books/1</a:t>
            </a:r>
            <a:endParaRPr lang="en-US" sz="4400" dirty="0"/>
          </a:p>
          <a:p>
            <a:endParaRPr lang="en-US" sz="4400" dirty="0"/>
          </a:p>
          <a:p>
            <a:endParaRPr lang="ru-RU" sz="4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8E1FE3-E8E9-ACA5-883F-073CD7DE59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599" y="5002530"/>
            <a:ext cx="15084497" cy="22669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F826ED-0E62-9545-7A1B-4580BD20068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889"/>
          <a:stretch/>
        </p:blipFill>
        <p:spPr>
          <a:xfrm>
            <a:off x="10254807" y="8298180"/>
            <a:ext cx="5446448" cy="10598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DE4955C-C405-017E-7DA9-9F996B119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54808" y="9901892"/>
            <a:ext cx="4912360" cy="122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7927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87600" y="740445"/>
            <a:ext cx="10974288" cy="1015365"/>
          </a:xfrm>
        </p:spPr>
        <p:txBody>
          <a:bodyPr/>
          <a:lstStyle/>
          <a:p>
            <a:r>
              <a:rPr lang="ru-RU" dirty="0"/>
              <a:t>На самом деле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56"/>
          </p:nvPr>
        </p:nvSpPr>
        <p:spPr>
          <a:xfrm>
            <a:off x="1587600" y="3428999"/>
            <a:ext cx="10974288" cy="8719457"/>
          </a:xfrm>
        </p:spPr>
        <p:txBody>
          <a:bodyPr/>
          <a:lstStyle/>
          <a:p>
            <a:r>
              <a:rPr lang="ru-RU" sz="4400" dirty="0"/>
              <a:t>Катаюсь на конференции</a:t>
            </a:r>
          </a:p>
          <a:p>
            <a:r>
              <a:rPr lang="ru-RU" sz="4400" dirty="0"/>
              <a:t>Оптимизирую</a:t>
            </a:r>
            <a:r>
              <a:rPr lang="en-US" sz="4400" dirty="0"/>
              <a:t> </a:t>
            </a:r>
            <a:r>
              <a:rPr lang="ru-RU" sz="4400" dirty="0"/>
              <a:t>сырые </a:t>
            </a:r>
            <a:r>
              <a:rPr lang="en-US" sz="4400" dirty="0"/>
              <a:t>SQL-</a:t>
            </a:r>
            <a:r>
              <a:rPr lang="ru-RU" sz="4400" dirty="0"/>
              <a:t>запросы</a:t>
            </a:r>
          </a:p>
          <a:p>
            <a:r>
              <a:rPr lang="ru-RU" sz="4400" dirty="0"/>
              <a:t>Форматирую всю кодовую базу на выходных</a:t>
            </a:r>
            <a:endParaRPr lang="en-US" sz="4400" dirty="0"/>
          </a:p>
          <a:p>
            <a:endParaRPr lang="en-US" sz="4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C6AB9D-E33F-EE0C-A79B-18B8C8219D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845" r="13371"/>
          <a:stretch/>
        </p:blipFill>
        <p:spPr>
          <a:xfrm>
            <a:off x="12561888" y="2674808"/>
            <a:ext cx="10974288" cy="836638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509F6C-7B9F-EC4D-EEB5-19EE3C2B9E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677" y="9831886"/>
            <a:ext cx="6763912" cy="241861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061FC7-DB64-4929-48C5-3109A91086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0"/>
          <a:stretch/>
        </p:blipFill>
        <p:spPr>
          <a:xfrm>
            <a:off x="1800250" y="6436151"/>
            <a:ext cx="7549717" cy="613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6925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B12B95-2D17-2D3E-70E3-5285359FBED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95DEF1-6D9C-548A-DBF8-9FE75E21D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чень много код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29DB38-D7D4-124F-F824-A00E01C77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3777DD-E5A9-C378-936A-07783D248B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00" y="3850005"/>
            <a:ext cx="13998499" cy="601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77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186F9-E011-160F-F61A-D6F948EAC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уториал</a:t>
            </a:r>
            <a:r>
              <a:rPr lang="ru-RU" dirty="0"/>
              <a:t> по нагрузочному тестированию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D7120D-DC42-6FA7-C3DC-D3EB4AF9D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youtube.com</a:t>
            </a:r>
            <a:r>
              <a:rPr lang="en-US" dirty="0"/>
              <a:t>/</a:t>
            </a:r>
            <a:r>
              <a:rPr lang="en-US" dirty="0" err="1"/>
              <a:t>watch?v</a:t>
            </a:r>
            <a:r>
              <a:rPr lang="en-US" dirty="0"/>
              <a:t>=G24b3dQeqns&amp;list=PL1x4ET76A10awz4_9jQZEuD9fVacwlAb2</a:t>
            </a:r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B69399-2F20-84D5-EA64-3C1AD33B46C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2025432-A682-8A29-0723-07248D3311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23563" y="3490357"/>
            <a:ext cx="6735286" cy="673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624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560FD-602E-455E-4F7D-164615FFD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страиваем шайтан-машину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4FE483-9964-4A63-28F2-C87632A82C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90626F-CD1F-3220-467F-375D482C2BF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03BCE5-7C9D-5866-31A1-3E3D7BBB1E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594" y="2148840"/>
            <a:ext cx="10993225" cy="1106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0405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4EA52-01DE-1602-2776-AF25F9AD2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Нагрузочно</a:t>
            </a:r>
            <a:r>
              <a:rPr lang="ru-RU" dirty="0"/>
              <a:t> тестируем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07C1EC-AD52-7F67-2325-E11CE2EF00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154D0-A00C-8C9E-E987-9F08BD57B69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AC8386-416B-1D38-471F-CDED5E1034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3745" y="2760980"/>
            <a:ext cx="12974922" cy="51562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3C3CE18-0887-894A-E62B-2224DCAB7A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3744" y="7917246"/>
            <a:ext cx="12974921" cy="516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9987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B6E89B-9A7E-A222-0FC5-C4DE5850F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бавим ещё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71842F-2FFE-732C-C7C7-65C51FB843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0867AD-9F83-77C2-97D1-32F65DE1A03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6E9AF8-E821-469F-DDF1-5B7D597929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499" y="3798570"/>
            <a:ext cx="11285815" cy="39052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90A194-5FF7-AF82-0699-1ECA573965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899" y="8250237"/>
            <a:ext cx="12528337" cy="390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6293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776CD-E0CB-95D4-83FD-2BA4AAD87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ируем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0AC79D-1F46-8430-EF07-AC0131BFA6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514043-C846-F873-7CE4-D074828A47C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64BA9-7B51-E1DA-712F-44C133A0D7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210" y="2007235"/>
            <a:ext cx="10025992" cy="1148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3422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7448E-F5AC-5120-CA24-82AAFD344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зультаты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C5704C-9D29-6C45-BA8C-169D9AD7FF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341946-3659-D837-0AF2-45B49DE3C73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05F8BA-1D5B-2D1F-2216-EDD2A7EB55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050" y="1755775"/>
            <a:ext cx="14084312" cy="54356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9EF63A-9BF7-CF0B-C180-BA78AABEB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050" y="7191400"/>
            <a:ext cx="14084313" cy="556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2398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E10235-D363-9DE8-59F8-23CC208E5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бавим маленькую деталь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1AEC64-78B4-572B-5E75-B10A93652D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423428-1593-048C-2F7C-FD477F3ABB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588E86-887E-0BC2-9CCC-4397FA7E57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0" y="4581299"/>
            <a:ext cx="13923970" cy="455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056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4C5EA-9754-54E2-6420-58E2B8657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-п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18622E-B85C-1F95-8A30-5A852687B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3DD25D-6825-F6EF-C329-7C473E1696B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F9D1308-E5AA-05FD-B665-B8BE8D5ED5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684" y="1918737"/>
            <a:ext cx="13727045" cy="52478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574F16-47BD-5D2F-B9ED-968A9F3EF8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684" y="7166619"/>
            <a:ext cx="13727045" cy="567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059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BF5CE-705A-4BDD-AE1D-4E088323A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бираем «товар»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79F128-4DA9-6296-D16C-3F1DB9B65B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="0" i="0" u="sng" dirty="0">
                <a:solidFill>
                  <a:srgbClr val="727272"/>
                </a:solidFill>
                <a:effectLst/>
                <a:highlight>
                  <a:srgbClr val="FFFFFF"/>
                </a:highlight>
                <a:latin typeface="Lato" panose="020F0502020204030203" pitchFamily="34" charset="0"/>
                <a:hlinkClick r:id="rId2"/>
              </a:rPr>
              <a:t>https://disk.yandex.ru/d/YAm7WsN7q8BVbw</a:t>
            </a:r>
            <a:endParaRPr lang="en-US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Lato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50414D-43E0-253B-7E14-E4A59A61E2F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F60C1E-C181-4563-B8C0-43C83D21AE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500" y="4055110"/>
            <a:ext cx="14453420" cy="6369050"/>
          </a:xfrm>
          <a:prstGeom prst="rect">
            <a:avLst/>
          </a:prstGeom>
        </p:spPr>
      </p:pic>
      <p:pic>
        <p:nvPicPr>
          <p:cNvPr id="56324" name="Picture 4" descr="Picture background">
            <a:extLst>
              <a:ext uri="{FF2B5EF4-FFF2-40B4-BE49-F238E27FC236}">
                <a16:creationId xmlns:a16="http://schemas.microsoft.com/office/drawing/2014/main" id="{609D64FB-39CA-B36F-356F-DF76378EE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6138" y="3787140"/>
            <a:ext cx="8296275" cy="663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10970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87600" y="740445"/>
            <a:ext cx="10974288" cy="1015365"/>
          </a:xfrm>
        </p:spPr>
        <p:txBody>
          <a:bodyPr/>
          <a:lstStyle/>
          <a:p>
            <a:r>
              <a:rPr lang="en-US" dirty="0" err="1">
                <a:sym typeface="+mn-ea"/>
              </a:rPr>
              <a:t>О</a:t>
            </a:r>
            <a:r>
              <a:rPr lang="en-US" dirty="0">
                <a:sym typeface="+mn-ea"/>
              </a:rPr>
              <a:t> </a:t>
            </a:r>
            <a:r>
              <a:rPr lang="en-US" dirty="0" err="1">
                <a:sym typeface="+mn-ea"/>
              </a:rPr>
              <a:t>работе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US" sz="3600" dirty="0"/>
          </a:p>
        </p:txBody>
      </p:sp>
      <p:pic>
        <p:nvPicPr>
          <p:cNvPr id="41986" name="Picture 2" descr="Picture background">
            <a:extLst>
              <a:ext uri="{FF2B5EF4-FFF2-40B4-BE49-F238E27FC236}">
                <a16:creationId xmlns:a16="http://schemas.microsoft.com/office/drawing/2014/main" id="{81624200-C0E3-F631-FC99-CC61F01A2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398" y="3176270"/>
            <a:ext cx="10526712" cy="8421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6D925A-089E-0592-5F1B-61F25207B0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215" y="1567815"/>
            <a:ext cx="7543800" cy="1005840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32EB5-8B63-9D9B-46C4-1D2522D6A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пускаем «ржавого» шпион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DC6948-2654-8FD6-E1B5-AD73E4AA7A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5666EE-7CFA-C68E-A344-7EA188FBE6D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9BA1D2-C66A-CF46-A1F5-C8CF49A936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499" y="5133247"/>
            <a:ext cx="18073995" cy="401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8589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016024-BF03-8DCA-5C9C-C29D3F383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мотрим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B6FB49-8ED6-2515-B1A2-61448316F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388BA7-0F1B-7915-0BA1-5F5A852AD5D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DD18EB-4154-9558-DB25-41572EFF4D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382" y="2572385"/>
            <a:ext cx="19089648" cy="1064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501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016024-BF03-8DCA-5C9C-C29D3F383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мотрим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B6FB49-8ED6-2515-B1A2-61448316F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388BA7-0F1B-7915-0BA1-5F5A852AD5D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DD18EB-4154-9558-DB25-41572EFF4D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382" y="2572385"/>
            <a:ext cx="19089648" cy="10643235"/>
          </a:xfrm>
          <a:prstGeom prst="rect">
            <a:avLst/>
          </a:prstGeom>
        </p:spPr>
      </p:pic>
      <p:pic>
        <p:nvPicPr>
          <p:cNvPr id="57346" name="Picture 2" descr="Picture background">
            <a:extLst>
              <a:ext uri="{FF2B5EF4-FFF2-40B4-BE49-F238E27FC236}">
                <a16:creationId xmlns:a16="http://schemas.microsoft.com/office/drawing/2014/main" id="{93E1703C-1711-D412-EF38-EAEB158F4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1205" y="6858528"/>
            <a:ext cx="8940007" cy="5949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0726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5F30AF-0C20-DE50-A3FB-BDDE7276A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ft Heavy</a:t>
            </a:r>
            <a:endParaRPr lang="ru-R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757BA3-34C1-5F79-910F-F43CA9F979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26F6F5-9491-2FDB-0C50-D2DA1A01862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D85F2B-C30E-14EF-0A60-1A9F353124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313" y="2463799"/>
            <a:ext cx="19065786" cy="10649585"/>
          </a:xfrm>
          <a:prstGeom prst="rect">
            <a:avLst/>
          </a:prstGeom>
        </p:spPr>
      </p:pic>
      <p:pic>
        <p:nvPicPr>
          <p:cNvPr id="58370" name="Picture 2" descr="Picture background">
            <a:extLst>
              <a:ext uri="{FF2B5EF4-FFF2-40B4-BE49-F238E27FC236}">
                <a16:creationId xmlns:a16="http://schemas.microsoft.com/office/drawing/2014/main" id="{80C08529-7C90-782B-0233-629480650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5940" y="4032982"/>
            <a:ext cx="9465627" cy="4874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40044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AF3561-D97E-3811-457E-9C2D1FC2E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ёгким движением руки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DA5BFF-D8B7-4696-F4D6-0E59EDB88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897E4C-EE39-EF6D-A633-C607811A72C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A8607E-B397-D7E5-DAB1-09DF4E20F7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0" y="4505960"/>
            <a:ext cx="11533016" cy="47040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7B95877-B538-83C9-11A5-F0A78DEC70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1946" y="4505960"/>
            <a:ext cx="8988688" cy="470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3189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AF3561-D97E-3811-457E-9C2D1FC2E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ируем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DA5BFF-D8B7-4696-F4D6-0E59EDB88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897E4C-EE39-EF6D-A633-C607811A72C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DCE3A4-D75E-CE7A-90C2-6275FEC785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855" y="2809847"/>
            <a:ext cx="13027551" cy="50606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74E86C-68B1-90AD-9689-A9D57E94BF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856" y="7840807"/>
            <a:ext cx="13027550" cy="5134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5513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6B5B1-EE42-811B-3EA1-E0570C70A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Потыкаем</a:t>
            </a:r>
            <a:r>
              <a:rPr lang="ru-RU" dirty="0"/>
              <a:t> напоследок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A644FF-CE4F-9495-D9AF-338A47487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E340B6-E355-31A8-489C-8B7929A2C1C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2182A9-9F4F-74BF-3938-E4760CF4BB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746" y="2578735"/>
            <a:ext cx="19100919" cy="10636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01698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05326" y="4203427"/>
            <a:ext cx="16558531" cy="3539430"/>
          </a:xfrm>
        </p:spPr>
        <p:txBody>
          <a:bodyPr/>
          <a:lstStyle/>
          <a:p>
            <a:r>
              <a:rPr lang="ru-RU" dirty="0">
                <a:sym typeface="+mn-ea"/>
              </a:rPr>
              <a:t>Результаты оптимизаций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78707" y="4549375"/>
            <a:ext cx="1426559" cy="1015365"/>
          </a:xfrm>
        </p:spPr>
        <p:txBody>
          <a:bodyPr/>
          <a:lstStyle/>
          <a:p>
            <a:r>
              <a:rPr lang="en-US" dirty="0"/>
              <a:t>0</a:t>
            </a:r>
            <a:r>
              <a:rPr lang="ru-RU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5217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6"/>
          <p:cNvSpPr txBox="1"/>
          <p:nvPr/>
        </p:nvSpPr>
        <p:spPr bwMode="auto">
          <a:xfrm>
            <a:off x="1587600" y="716314"/>
            <a:ext cx="21232812" cy="1015663"/>
          </a:xfrm>
          <a:prstGeom prst="rect">
            <a:avLst/>
          </a:prstGeom>
        </p:spPr>
        <p:txBody>
          <a:bodyPr vert="horz" lIns="0" tIns="198000" rIns="0" bIns="0" rtlCol="0" anchor="ctr" anchorCtr="0">
            <a:noAutofit/>
          </a:bodyPr>
          <a:lstStyle>
            <a:lvl1pPr marL="0" algn="l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795" b="1" i="0" kern="1200">
                <a:solidFill>
                  <a:schemeClr val="tx1"/>
                </a:solidFill>
                <a:latin typeface="Arial" panose="02080604020202020204" pitchFamily="34" charset="0"/>
                <a:ea typeface="+mj-ea"/>
                <a:cs typeface="Arial" panose="02080604020202020204" pitchFamily="34" charset="0"/>
              </a:defRPr>
            </a:lvl1pPr>
          </a:lstStyle>
          <a:p>
            <a:r>
              <a:rPr lang="ru-RU" sz="6600" b="0" dirty="0">
                <a:latin typeface="YS Text Medium" charset="0"/>
                <a:cs typeface="YS Text Medium" charset="0"/>
              </a:rPr>
              <a:t>Тыкаем в продакшен</a:t>
            </a:r>
          </a:p>
        </p:txBody>
      </p:sp>
      <p:pic>
        <p:nvPicPr>
          <p:cNvPr id="501" name="Picture 500"/>
          <p:cNvPicPr/>
          <p:nvPr/>
        </p:nvPicPr>
        <p:blipFill>
          <a:blip r:embed="rId3"/>
          <a:stretch>
            <a:fillRect/>
          </a:stretch>
        </p:blipFill>
        <p:spPr>
          <a:xfrm>
            <a:off x="2653560" y="2286000"/>
            <a:ext cx="19287000" cy="1005768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PlaceHolder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6600" strike="noStrike" spc="-1">
                <a:solidFill>
                  <a:srgbClr val="191916"/>
                </a:solidFill>
                <a:latin typeface="YS Text Medium" charset="0"/>
                <a:cs typeface="YS Text Medium" charset="0"/>
              </a:rPr>
              <a:t>Сравнение методов</a:t>
            </a:r>
            <a:endParaRPr lang="ru-RU" sz="6600" strike="noStrike" spc="-1">
              <a:solidFill>
                <a:srgbClr val="000000"/>
              </a:solidFill>
              <a:latin typeface="YS Text Medium" charset="0"/>
              <a:cs typeface="YS Text Medium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x177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x458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x5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56"/>
          </p:nvPr>
        </p:nvSpPr>
        <p:spPr>
          <a:xfrm>
            <a:off x="18418175" y="2090636"/>
            <a:ext cx="4028123" cy="1938655"/>
          </a:xfrm>
        </p:spPr>
        <p:txBody>
          <a:bodyPr/>
          <a:lstStyle/>
          <a:p>
            <a:r>
              <a:rPr lang="en-US" b="1"/>
              <a:t>Ускорение парсинга дат при включении флага</a:t>
            </a:r>
          </a:p>
          <a:p>
            <a:endParaRPr lang="en-US" b="1"/>
          </a:p>
          <a:p>
            <a:endParaRPr lang="en-US" b="1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57"/>
          </p:nvPr>
        </p:nvSpPr>
        <p:spPr>
          <a:xfrm>
            <a:off x="18418175" y="6230987"/>
            <a:ext cx="4028123" cy="738505"/>
          </a:xfrm>
        </p:spPr>
        <p:txBody>
          <a:bodyPr/>
          <a:lstStyle/>
          <a:p>
            <a:r>
              <a:rPr lang="en-US" b="1"/>
              <a:t>Между fromisoformat и dateutil.parser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58"/>
          </p:nvPr>
        </p:nvSpPr>
        <p:spPr>
          <a:xfrm>
            <a:off x="18418175" y="10371338"/>
            <a:ext cx="4028123" cy="141541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800"/>
              </a:spcAft>
              <a:buNone/>
              <a:tabLst>
                <a:tab pos="0" algn="l"/>
              </a:tabLst>
            </a:pPr>
            <a:r>
              <a:rPr lang="ru-RU" b="1" spc="-1">
                <a:solidFill>
                  <a:srgbClr val="000000"/>
                </a:solidFill>
                <a:latin typeface="YS Text Light" charset="0"/>
                <a:cs typeface="YS Text Light" charset="0"/>
                <a:sym typeface="+mn-ea"/>
              </a:rPr>
              <a:t>Ускорение сериализации</a:t>
            </a:r>
            <a:endParaRPr lang="ru-RU" b="0" strike="noStrike" spc="-1">
              <a:solidFill>
                <a:srgbClr val="000000"/>
              </a:solidFill>
              <a:latin typeface="YS Text Light" charset="0"/>
              <a:cs typeface="YS Text Light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  <a:buNone/>
              <a:tabLst>
                <a:tab pos="0" algn="l"/>
              </a:tabLst>
            </a:pPr>
            <a:endParaRPr lang="ru-RU" b="0" strike="noStrike" spc="-1">
              <a:solidFill>
                <a:srgbClr val="000000"/>
              </a:solidFill>
              <a:latin typeface="YS Text Light" charset="0"/>
              <a:cs typeface="YS Text Light" charset="0"/>
            </a:endParaRPr>
          </a:p>
          <a:p>
            <a:endParaRPr lang="en-US">
              <a:latin typeface="YS Text Light" charset="0"/>
              <a:cs typeface="YS Text Light" charset="0"/>
            </a:endParaRPr>
          </a:p>
        </p:txBody>
      </p:sp>
      <p:graphicFrame>
        <p:nvGraphicFramePr>
          <p:cNvPr id="510" name="Table 2"/>
          <p:cNvGraphicFramePr/>
          <p:nvPr/>
        </p:nvGraphicFramePr>
        <p:xfrm>
          <a:off x="1191960" y="3484800"/>
          <a:ext cx="14981400" cy="6785280"/>
        </p:xfrm>
        <a:graphic>
          <a:graphicData uri="http://schemas.openxmlformats.org/drawingml/2006/table">
            <a:tbl>
              <a:tblPr/>
              <a:tblGrid>
                <a:gridCol w="4509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98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20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22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968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sz="3600" b="1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Тест</a:t>
                      </a:r>
                    </a:p>
                  </a:txBody>
                  <a:tcPr marT="0" marB="180000" anchor="b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DE4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1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Old iso</a:t>
                      </a:r>
                    </a:p>
                  </a:txBody>
                  <a:tcPr marT="0" marB="180000" anchor="b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DE4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1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Old basic</a:t>
                      </a:r>
                    </a:p>
                  </a:txBody>
                  <a:tcPr marT="0" marB="180000" anchor="b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DE4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1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New iso</a:t>
                      </a:r>
                    </a:p>
                  </a:txBody>
                  <a:tcPr marT="0" marB="180000" anchor="b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DE4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en-US" sz="3600" b="1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New basic</a:t>
                      </a:r>
                    </a:p>
                  </a:txBody>
                  <a:tcPr marT="0" marB="180000" anchor="b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DE4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18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Десериализация</a:t>
                      </a:r>
                    </a:p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US" alt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с обвязками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38160">
                      <a:solidFill>
                        <a:srgbClr val="FFDE40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en-US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1.2237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38160">
                      <a:solidFill>
                        <a:srgbClr val="FFDE40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en-US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1.1402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noFill/>
                    </a:lnR>
                    <a:lnT w="38160">
                      <a:solidFill>
                        <a:srgbClr val="FFDE40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0.0069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38160">
                      <a:solidFill>
                        <a:srgbClr val="FFDE40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0.0319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38160">
                      <a:solidFill>
                        <a:srgbClr val="FFDE40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73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Чистая десериализация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1.1927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1.0439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0.0026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N/A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9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Сериализация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0.1235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N/A</a:t>
                      </a:r>
                    </a:p>
                  </a:txBody>
                  <a:tcPr anchor="ctr">
                    <a:lnL w="12240">
                      <a:solidFill>
                        <a:srgbClr val="FFFFFF"/>
                      </a:solidFill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0.0242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buNone/>
                      </a:pPr>
                      <a:r>
                        <a:rPr lang="ru-RU" sz="3600" b="0" strike="noStrike" spc="-1">
                          <a:solidFill>
                            <a:srgbClr val="000000"/>
                          </a:solidFill>
                          <a:latin typeface="YS Text Light" charset="0"/>
                          <a:cs typeface="YS Text Light" charset="0"/>
                        </a:rPr>
                        <a:t>N/A</a:t>
                      </a:r>
                    </a:p>
                  </a:txBody>
                  <a:tcPr anchor="ctr">
                    <a:lnL w="12240">
                      <a:noFill/>
                    </a:lnL>
                    <a:lnR w="12240">
                      <a:noFill/>
                    </a:lnR>
                    <a:lnT w="9360">
                      <a:solidFill>
                        <a:srgbClr val="D9D9D9"/>
                      </a:solidFill>
                    </a:lnT>
                    <a:lnB w="936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11" name="Picture 510"/>
          <p:cNvPicPr/>
          <p:nvPr/>
        </p:nvPicPr>
        <p:blipFill>
          <a:blip r:embed="rId3"/>
          <a:stretch>
            <a:fillRect/>
          </a:stretch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8" name="Text Box 17"/>
          <p:cNvSpPr txBox="1"/>
          <p:nvPr/>
        </p:nvSpPr>
        <p:spPr>
          <a:xfrm>
            <a:off x="22698075" y="13046710"/>
            <a:ext cx="127000" cy="55372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539750" indent="-539750" algn="l">
              <a:spcAft>
                <a:spcPts val="1800"/>
              </a:spcAft>
            </a:pPr>
            <a:endParaRPr lang="en-US" sz="36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87600" y="740445"/>
            <a:ext cx="10974288" cy="1015365"/>
          </a:xfrm>
        </p:spPr>
        <p:txBody>
          <a:bodyPr/>
          <a:lstStyle/>
          <a:p>
            <a:r>
              <a:rPr lang="ru-RU" dirty="0">
                <a:sym typeface="+mn-ea"/>
              </a:rPr>
              <a:t>Идея доклада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US" sz="3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5E19D5-EF3F-A8DD-73DD-6338352BA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558" y="2548803"/>
            <a:ext cx="13297296" cy="9599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63046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Не везде подходит </a:t>
            </a:r>
            <a:r>
              <a:rPr lang="en-US" dirty="0"/>
              <a:t>Pyth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87600" y="6858000"/>
            <a:ext cx="6380743" cy="1212850"/>
          </a:xfrm>
        </p:spPr>
        <p:txBody>
          <a:bodyPr/>
          <a:lstStyle/>
          <a:p>
            <a:r>
              <a:rPr lang="en-US" dirty="0" err="1"/>
              <a:t>Итоги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Проблема часто не в языке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strike="sngStrike" dirty="0"/>
              <a:t>Алгоритмы</a:t>
            </a:r>
            <a:r>
              <a:rPr lang="en-US" dirty="0"/>
              <a:t> Computer Science</a:t>
            </a:r>
            <a:r>
              <a:rPr lang="ru-RU" dirty="0"/>
              <a:t> пригождается 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12351321" y="3426495"/>
            <a:ext cx="1458119" cy="1015365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2351321" y="6350169"/>
            <a:ext cx="1458119" cy="1015365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2351321" y="9273843"/>
            <a:ext cx="1458119" cy="1015365"/>
          </a:xfrm>
        </p:spPr>
        <p:txBody>
          <a:bodyPr/>
          <a:lstStyle/>
          <a:p>
            <a:r>
              <a:rPr lang="en-US"/>
              <a:t>3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87600" y="740444"/>
            <a:ext cx="21232812" cy="1015365"/>
          </a:xfrm>
        </p:spPr>
        <p:txBody>
          <a:bodyPr/>
          <a:lstStyle/>
          <a:p>
            <a:r>
              <a:rPr lang="ru-RU" dirty="0"/>
              <a:t>Вопросы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2"/>
          </p:nvPr>
        </p:nvSpPr>
        <p:spPr>
          <a:xfrm>
            <a:off x="1930400" y="9431714"/>
            <a:ext cx="9475788" cy="430530"/>
          </a:xfrm>
        </p:spPr>
        <p:txBody>
          <a:bodyPr/>
          <a:lstStyle/>
          <a:p>
            <a:pPr algn="ctr"/>
            <a:r>
              <a:rPr lang="en-US" dirty="0" err="1"/>
              <a:t>Ссылка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@</a:t>
            </a:r>
            <a:r>
              <a:rPr lang="en-US" dirty="0" err="1"/>
              <a:t>serjflin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3"/>
          </p:nvPr>
        </p:nvSpPr>
        <p:spPr>
          <a:xfrm>
            <a:off x="12998323" y="9431714"/>
            <a:ext cx="9475788" cy="430530"/>
          </a:xfrm>
        </p:spPr>
        <p:txBody>
          <a:bodyPr/>
          <a:lstStyle/>
          <a:p>
            <a:pPr algn="ctr"/>
            <a:r>
              <a:rPr lang="en-US" dirty="0" err="1"/>
              <a:t>Ссылка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ru-RU" dirty="0"/>
              <a:t>репозиторий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1587600" y="2319766"/>
            <a:ext cx="15756616" cy="54864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12E7743-3535-6C97-2E09-6B068521D2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79613" y="2855595"/>
            <a:ext cx="6068060" cy="606806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123D60C-A520-B8D9-9D02-B7E649013B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34740" y="2868406"/>
            <a:ext cx="6055249" cy="605524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87600" y="740445"/>
            <a:ext cx="10974288" cy="1015365"/>
          </a:xfrm>
        </p:spPr>
        <p:txBody>
          <a:bodyPr/>
          <a:lstStyle/>
          <a:p>
            <a:r>
              <a:rPr lang="ru-RU" dirty="0">
                <a:sym typeface="+mn-ea"/>
              </a:rPr>
              <a:t>Идея доклада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US" sz="3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5E19D5-EF3F-A8DD-73DD-6338352BA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558" y="2548803"/>
            <a:ext cx="13297296" cy="95993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D8E71A-5B6F-CFE1-1A3E-F7A480B9CCC1}"/>
              </a:ext>
            </a:extLst>
          </p:cNvPr>
          <p:cNvSpPr txBox="1"/>
          <p:nvPr/>
        </p:nvSpPr>
        <p:spPr>
          <a:xfrm rot="1800000">
            <a:off x="3725328" y="9446682"/>
            <a:ext cx="10169451" cy="6771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539750" indent="-539750" algn="l">
              <a:spcAft>
                <a:spcPts val="1800"/>
              </a:spcAft>
            </a:pPr>
            <a:r>
              <a:rPr lang="ru-RU" sz="4400" b="1" dirty="0"/>
              <a:t>Нормально делай – нормально будет</a:t>
            </a:r>
          </a:p>
        </p:txBody>
      </p:sp>
    </p:spTree>
    <p:extLst>
      <p:ext uri="{BB962C8B-B14F-4D97-AF65-F5344CB8AC3E}">
        <p14:creationId xmlns:p14="http://schemas.microsoft.com/office/powerpoint/2010/main" val="3046115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Text Placeholder 17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ru-RU" dirty="0">
                <a:latin typeface="YS Text Light" charset="0"/>
                <a:cs typeface="YS Text Light" charset="0"/>
              </a:rPr>
              <a:t>История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Содержание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01</a:t>
            </a:r>
          </a:p>
        </p:txBody>
      </p:sp>
      <p:sp>
        <p:nvSpPr>
          <p:cNvPr id="177" name="Text Placeholder 17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02</a:t>
            </a:r>
          </a:p>
        </p:txBody>
      </p:sp>
      <p:sp>
        <p:nvSpPr>
          <p:cNvPr id="178" name="Text Placeholder 17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03</a:t>
            </a:r>
          </a:p>
        </p:txBody>
      </p:sp>
      <p:sp>
        <p:nvSpPr>
          <p:cNvPr id="179" name="Text Placeholder 17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ru-RU" b="0" dirty="0">
                <a:latin typeface="YS Text Medium" charset="0"/>
                <a:cs typeface="YS Text Medium" charset="0"/>
              </a:rPr>
              <a:t>04</a:t>
            </a:r>
          </a:p>
        </p:txBody>
      </p:sp>
      <p:sp>
        <p:nvSpPr>
          <p:cNvPr id="181" name="Text Placeholder 18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ru-RU" dirty="0">
                <a:latin typeface="YS Text Light" charset="0"/>
                <a:cs typeface="YS Text Light" charset="0"/>
              </a:rPr>
              <a:t>Инструменты</a:t>
            </a:r>
            <a:endParaRPr lang="en-GB" dirty="0">
              <a:latin typeface="YS Text Light" charset="0"/>
              <a:cs typeface="YS Text Light" charset="0"/>
            </a:endParaRPr>
          </a:p>
        </p:txBody>
      </p:sp>
      <p:sp>
        <p:nvSpPr>
          <p:cNvPr id="182" name="Text Placeholder 18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ru-RU" dirty="0">
                <a:latin typeface="YS Text Light" charset="0"/>
                <a:cs typeface="YS Text Light" charset="0"/>
              </a:rPr>
              <a:t>Воркшоп</a:t>
            </a:r>
          </a:p>
        </p:txBody>
      </p:sp>
      <p:sp>
        <p:nvSpPr>
          <p:cNvPr id="183" name="Text Placeholder 182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ru-RU" dirty="0">
                <a:latin typeface="YS Text Light" charset="0"/>
                <a:cs typeface="YS Text Light" charset="0"/>
              </a:rPr>
              <a:t>Результаты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1587500" y="740410"/>
            <a:ext cx="20756880" cy="1015365"/>
          </a:xfrm>
        </p:spPr>
        <p:txBody>
          <a:bodyPr/>
          <a:lstStyle/>
          <a:p>
            <a:r>
              <a:rPr lang="en-US"/>
              <a:t>Сильные стороны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Удобочитаемость</a:t>
            </a:r>
            <a:endParaRPr lang="en-US" sz="4400" dirty="0"/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Развитая</a:t>
            </a:r>
            <a:r>
              <a:rPr lang="en-US" sz="4400" dirty="0"/>
              <a:t> </a:t>
            </a:r>
            <a:r>
              <a:rPr lang="en-US" sz="4400" dirty="0" err="1"/>
              <a:t>экосистема</a:t>
            </a:r>
            <a:endParaRPr lang="en-US" sz="4400" dirty="0"/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Большое</a:t>
            </a:r>
            <a:r>
              <a:rPr lang="en-US" sz="4400" dirty="0"/>
              <a:t> </a:t>
            </a:r>
            <a:r>
              <a:rPr lang="en-US" sz="4400" dirty="0" err="1"/>
              <a:t>сообщество</a:t>
            </a:r>
            <a:endParaRPr lang="en-US" sz="4400" dirty="0"/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/>
              <a:t>Garbage Collector</a:t>
            </a:r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Подержка</a:t>
            </a:r>
            <a:r>
              <a:rPr lang="en-US" sz="4400" dirty="0"/>
              <a:t> </a:t>
            </a:r>
            <a:r>
              <a:rPr lang="en-US" sz="4400" dirty="0" err="1"/>
              <a:t>в</a:t>
            </a:r>
            <a:r>
              <a:rPr lang="en-US" sz="4400" dirty="0"/>
              <a:t> IDE</a:t>
            </a:r>
            <a:endParaRPr lang="ru-RU" sz="4400" dirty="0"/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/>
              <a:t>ML/DS</a:t>
            </a:r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Jupyter</a:t>
            </a:r>
            <a:endParaRPr lang="en-US" sz="4400" dirty="0"/>
          </a:p>
          <a:p>
            <a:r>
              <a:rPr lang="en-US" sz="4400" dirty="0"/>
              <a:t>…</a:t>
            </a:r>
          </a:p>
          <a:p>
            <a:pPr marL="514350" indent="-514350">
              <a:buFont typeface="Arial" panose="02080604020202020204" pitchFamily="34" charset="0"/>
              <a:buChar char="•"/>
            </a:pPr>
            <a:r>
              <a:rPr lang="en-US" sz="4400" dirty="0" err="1"/>
              <a:t>Pytup</a:t>
            </a:r>
            <a:r>
              <a:rPr lang="en-US" sz="4400" dirty="0"/>
              <a:t> </a:t>
            </a:r>
            <a:r>
              <a:rPr lang="ru-RU" sz="4400" dirty="0"/>
              <a:t>в Нижнем Новгороде!</a:t>
            </a:r>
            <a:endParaRPr lang="en-US" sz="4400" dirty="0"/>
          </a:p>
          <a:p>
            <a:pPr>
              <a:buFont typeface="Arial" panose="02080604020202020204" pitchFamily="34" charset="0"/>
            </a:pPr>
            <a:endParaRPr lang="en-US" sz="4400" dirty="0"/>
          </a:p>
          <a:p>
            <a:pPr>
              <a:buFont typeface="Arial" panose="02080604020202020204" pitchFamily="34" charset="0"/>
            </a:pPr>
            <a:endParaRPr lang="en-US" sz="4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3020" y="1966595"/>
            <a:ext cx="5723890" cy="1018159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87500" y="740410"/>
            <a:ext cx="20756880" cy="1015365"/>
          </a:xfrm>
        </p:spPr>
        <p:txBody>
          <a:bodyPr/>
          <a:lstStyle/>
          <a:p>
            <a:r>
              <a:rPr lang="en-US" dirty="0" err="1"/>
              <a:t>Слабые</a:t>
            </a:r>
            <a:r>
              <a:rPr lang="en-US" dirty="0"/>
              <a:t> </a:t>
            </a:r>
            <a:r>
              <a:rPr lang="en-US" dirty="0" err="1"/>
              <a:t>стороны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en-US" sz="4400" dirty="0"/>
              <a:t>Python “</a:t>
            </a:r>
            <a:r>
              <a:rPr lang="en-US" sz="4400" dirty="0" err="1"/>
              <a:t>медленный</a:t>
            </a:r>
            <a:r>
              <a:rPr lang="en-US" sz="4400" dirty="0"/>
              <a:t>”</a:t>
            </a:r>
            <a:endParaRPr lang="ru-RU" sz="4400" dirty="0"/>
          </a:p>
        </p:txBody>
      </p:sp>
      <p:pic>
        <p:nvPicPr>
          <p:cNvPr id="3" name="Picture 2" descr="8d84bb4b84096a94d06833378fa2a9f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49125" y="2902585"/>
            <a:ext cx="8112760" cy="81127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9F2B40-F107-E219-1FC7-1BE5F2627D67}"/>
              </a:ext>
            </a:extLst>
          </p:cNvPr>
          <p:cNvSpPr txBox="1"/>
          <p:nvPr/>
        </p:nvSpPr>
        <p:spPr>
          <a:xfrm>
            <a:off x="1587500" y="12619990"/>
            <a:ext cx="8359661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ru-RU" sz="2800" dirty="0"/>
              <a:t>Подробнее в прошлой серии «По горячим путям»</a:t>
            </a:r>
            <a:endParaRPr lang="en-US" sz="28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0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2&quot;&gt;&lt;elem m_fUsage=&quot;5.27818996602597412249E+00&quot;&gt;&lt;m_msothmcolidx val=&quot;0&quot;/&gt;&lt;m_rgb r=&quot;E4&quot; g=&quot;E4&quot; b=&quot;E4&quot;/&gt;&lt;/elem&gt;&lt;elem m_fUsage=&quot;1.93371455296382421807E+00&quot;&gt;&lt;m_msothmcolidx val=&quot;0&quot;/&gt;&lt;m_rgb r=&quot;FF&quot; g=&quot;ED&quot; b=&quot;A9&quot;/&gt;&lt;/elem&gt;&lt;elem m_fUsage=&quot;1.24857172551536033112E+00&quot;&gt;&lt;m_msothmcolidx val=&quot;0&quot;/&gt;&lt;m_rgb r=&quot;FF&quot; g=&quot;F6&quot; b=&quot;D3&quot;/&gt;&lt;/elem&gt;&lt;elem m_fUsage=&quot;2.05891132094649098594E-01&quot;&gt;&lt;m_msothmcolidx val=&quot;0&quot;/&gt;&lt;m_rgb r=&quot;D9&quot; g=&quot;D9&quot; b=&quot;D9&quot;/&gt;&lt;/elem&gt;&lt;elem m_fUsage=&quot;2.01343097667441961462E-01&quot;&gt;&lt;m_msothmcolidx val=&quot;0&quot;/&gt;&lt;m_rgb r=&quot;FE&quot; g=&quot;E5&quot; b=&quot;7F&quot;/&gt;&lt;/elem&gt;&lt;elem m_fUsage=&quot;1.85302018885184188735E-01&quot;&gt;&lt;m_msothmcolidx val=&quot;0&quot;/&gt;&lt;m_rgb r=&quot;FF&quot; g=&quot;F6&quot; b=&quot;D4&quot;/&gt;&lt;/elem&gt;&lt;elem m_fUsage=&quot;1.66771816996665767086E-01&quot;&gt;&lt;m_msothmcolidx val=&quot;0&quot;/&gt;&lt;m_rgb r=&quot;E3&quot; g=&quot;DC&quot; b=&quot;C9&quot;/&gt;&lt;/elem&gt;&lt;elem m_fUsage=&quot;1.09418989131512434110E-01&quot;&gt;&lt;m_msothmcolidx val=&quot;0&quot;/&gt;&lt;m_rgb r=&quot;DC&quot; g=&quot;AF&quot; b=&quot;01&quot;/&gt;&lt;/elem&gt;&lt;elem m_fUsage=&quot;7.17897987691853145531E-02&quot;&gt;&lt;m_msothmcolidx val=&quot;0&quot;/&gt;&lt;m_rgb r=&quot;CD&quot; g=&quot;F5&quot; b=&quot;CD&quot;/&gt;&lt;/elem&gt;&lt;elem m_fUsage=&quot;6.46108188922667886489E-02&quot;&gt;&lt;m_msothmcolidx val=&quot;0&quot;/&gt;&lt;m_rgb r=&quot;9C&quot; g=&quot;EC&quot; b=&quot;9B&quot;/&gt;&lt;/elem&gt;&lt;elem m_fUsage=&quot;5.81497370030401097840E-02&quot;&gt;&lt;m_msothmcolidx val=&quot;0&quot;/&gt;&lt;m_rgb r=&quot;6A&quot; g=&quot;E2&quot; b=&quot;6A&quot;/&gt;&lt;/elem&gt;&lt;elem m_fUsage=&quot;5.23347633027360994995E-02&quot;&gt;&lt;m_msothmcolidx val=&quot;0&quot;/&gt;&lt;m_rgb r=&quot;1B&quot; g=&quot;86&quot; b=&quot;1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andex">
  <a:themeElements>
    <a:clrScheme name="GO 1">
      <a:dk1>
        <a:srgbClr val="000000"/>
      </a:dk1>
      <a:lt1>
        <a:srgbClr val="FFFFFF"/>
      </a:lt1>
      <a:dk2>
        <a:srgbClr val="191916"/>
      </a:dk2>
      <a:lt2>
        <a:srgbClr val="FFDE40"/>
      </a:lt2>
      <a:accent1>
        <a:srgbClr val="FFDE40"/>
      </a:accent1>
      <a:accent2>
        <a:srgbClr val="FF6955"/>
      </a:accent2>
      <a:accent3>
        <a:srgbClr val="C0E5B5"/>
      </a:accent3>
      <a:accent4>
        <a:srgbClr val="BEBFBE"/>
      </a:accent4>
      <a:accent5>
        <a:srgbClr val="EBECEB"/>
      </a:accent5>
      <a:accent6>
        <a:srgbClr val="191916"/>
      </a:accent6>
      <a:hlink>
        <a:srgbClr val="211F1E"/>
      </a:hlink>
      <a:folHlink>
        <a:srgbClr val="20201F"/>
      </a:folHlink>
    </a:clrScheme>
    <a:fontScheme name="Custom 3">
      <a:majorFont>
        <a:latin typeface="YS Text Medium"/>
        <a:ea typeface=""/>
        <a:cs typeface=""/>
      </a:majorFont>
      <a:minorFont>
        <a:latin typeface="YS Text Ligh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noFill/>
        </a:ln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bg1">
              <a:lumMod val="75000"/>
            </a:schemeClr>
          </a:solidFill>
          <a:prstDash val="dash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spAutoFit/>
      </a:bodyPr>
      <a:lstStyle>
        <a:defPPr marL="539750" indent="-539750" algn="l">
          <a:spcAft>
            <a:spcPts val="1800"/>
          </a:spcAft>
          <a:defRPr sz="3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3</TotalTime>
  <Words>628</Words>
  <Application>Microsoft Macintosh PowerPoint</Application>
  <PresentationFormat>Custom</PresentationFormat>
  <Paragraphs>205</Paragraphs>
  <Slides>51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2" baseType="lpstr">
      <vt:lpstr>Arial Unicode MS</vt:lpstr>
      <vt:lpstr>Arial</vt:lpstr>
      <vt:lpstr>Lato</vt:lpstr>
      <vt:lpstr>System Font Regular</vt:lpstr>
      <vt:lpstr>YS Text</vt:lpstr>
      <vt:lpstr>YS Text Bold</vt:lpstr>
      <vt:lpstr>YS Text Light</vt:lpstr>
      <vt:lpstr>YS Text Medium</vt:lpstr>
      <vt:lpstr>YS Text Regular</vt:lpstr>
      <vt:lpstr>Yandex</vt:lpstr>
      <vt:lpstr>think-cell Slide</vt:lpstr>
      <vt:lpstr>Оптимизировать Python? Зачем?</vt:lpstr>
      <vt:lpstr>Обо мне</vt:lpstr>
      <vt:lpstr>На самом деле</vt:lpstr>
      <vt:lpstr>О работе</vt:lpstr>
      <vt:lpstr>Идея доклада</vt:lpstr>
      <vt:lpstr>Идея доклада</vt:lpstr>
      <vt:lpstr>Содержание</vt:lpstr>
      <vt:lpstr>Сильные стороны</vt:lpstr>
      <vt:lpstr>Слабые стороны</vt:lpstr>
      <vt:lpstr>Неправда</vt:lpstr>
      <vt:lpstr>А что сейчас?</vt:lpstr>
      <vt:lpstr>История профилирования</vt:lpstr>
      <vt:lpstr>Сложный CPython</vt:lpstr>
      <vt:lpstr>Профайлинг CPython</vt:lpstr>
      <vt:lpstr>Инструменты профилирования</vt:lpstr>
      <vt:lpstr>Стандартные средства</vt:lpstr>
      <vt:lpstr>Как было - 2013</vt:lpstr>
      <vt:lpstr>Как стало - 2023</vt:lpstr>
      <vt:lpstr>PowerPoint Presentation</vt:lpstr>
      <vt:lpstr>PowerPoint Presentation</vt:lpstr>
      <vt:lpstr>PowerPoint Presentation</vt:lpstr>
      <vt:lpstr>PowerPoint Presentation</vt:lpstr>
      <vt:lpstr>Воркшоп</vt:lpstr>
      <vt:lpstr>PowerPoint Presentation</vt:lpstr>
      <vt:lpstr>Создаём платёжный аккаунт</vt:lpstr>
      <vt:lpstr>Создаём виртуальную машину</vt:lpstr>
      <vt:lpstr>Подключаемся</vt:lpstr>
      <vt:lpstr>Нанимаем "ржавого" продакта</vt:lpstr>
      <vt:lpstr>Заводим DTO-шный фреймворк</vt:lpstr>
      <vt:lpstr>Очень много кода</vt:lpstr>
      <vt:lpstr>Туториал по нагрузочному тестированию</vt:lpstr>
      <vt:lpstr>Настраиваем шайтан-машину</vt:lpstr>
      <vt:lpstr>Нагрузочно тестируем</vt:lpstr>
      <vt:lpstr>Добавим ещё</vt:lpstr>
      <vt:lpstr>Тестируем</vt:lpstr>
      <vt:lpstr>Результаты</vt:lpstr>
      <vt:lpstr>Добавим маленькую деталь</vt:lpstr>
      <vt:lpstr>О-па</vt:lpstr>
      <vt:lpstr>Собираем «товар»</vt:lpstr>
      <vt:lpstr>Запускаем «ржавого» шпиона</vt:lpstr>
      <vt:lpstr>Смотрим</vt:lpstr>
      <vt:lpstr>Смотрим</vt:lpstr>
      <vt:lpstr>Left Heavy</vt:lpstr>
      <vt:lpstr>Лёгким движением руки</vt:lpstr>
      <vt:lpstr>Тестируем</vt:lpstr>
      <vt:lpstr>Потыкаем напоследок</vt:lpstr>
      <vt:lpstr>Результаты оптимизаций</vt:lpstr>
      <vt:lpstr>PowerPoint Presentation</vt:lpstr>
      <vt:lpstr>Сравнение методов</vt:lpstr>
      <vt:lpstr>Итоги</vt:lpstr>
      <vt:lpstr>Вопросы?</vt:lpstr>
    </vt:vector>
  </TitlesOfParts>
  <Manager>Maria Kutuzova</Manager>
  <Company>Yand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show_YST</dc:subject>
  <dc:creator>presentation</dc:creator>
  <cp:lastModifiedBy>Sergei Iakhnitskii</cp:lastModifiedBy>
  <cp:revision>203</cp:revision>
  <dcterms:created xsi:type="dcterms:W3CDTF">2023-10-31T06:38:55Z</dcterms:created>
  <dcterms:modified xsi:type="dcterms:W3CDTF">2024-06-01T09:05:39Z</dcterms:modified>
  <cp:category>presentation technolog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2-23T14:36:27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89d8dcf-cfb1-4b91-a499-a8cf7f3c4a0e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  <property fmtid="{D5CDD505-2E9C-101B-9397-08002B2CF9AE}" pid="10" name="ICV">
    <vt:lpwstr/>
  </property>
  <property fmtid="{D5CDD505-2E9C-101B-9397-08002B2CF9AE}" pid="11" name="KSOProductBuildVer">
    <vt:lpwstr>1033-11.1.0.11698</vt:lpwstr>
  </property>
</Properties>
</file>